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9" r:id="rId1"/>
  </p:sldMasterIdLst>
  <p:notesMasterIdLst>
    <p:notesMasterId r:id="rId9"/>
  </p:notesMasterIdLst>
  <p:handoutMasterIdLst>
    <p:handoutMasterId r:id="rId10"/>
  </p:handoutMasterIdLst>
  <p:sldIdLst>
    <p:sldId id="280" r:id="rId2"/>
    <p:sldId id="317" r:id="rId3"/>
    <p:sldId id="318" r:id="rId4"/>
    <p:sldId id="314" r:id="rId5"/>
    <p:sldId id="321" r:id="rId6"/>
    <p:sldId id="323" r:id="rId7"/>
    <p:sldId id="312" r:id="rId8"/>
  </p:sldIdLst>
  <p:sldSz cx="12192000" cy="6858000"/>
  <p:notesSz cx="6443663" cy="11811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36754B6-9FC2-4227-A807-4507CCDBC010}">
          <p14:sldIdLst>
            <p14:sldId id="280"/>
            <p14:sldId id="317"/>
            <p14:sldId id="318"/>
            <p14:sldId id="314"/>
            <p14:sldId id="321"/>
            <p14:sldId id="323"/>
            <p14:sldId id="31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C1E0"/>
    <a:srgbClr val="FFF3D1"/>
    <a:srgbClr val="FFE9AB"/>
    <a:srgbClr val="E18987"/>
    <a:srgbClr val="0085C0"/>
    <a:srgbClr val="D0F8DE"/>
    <a:srgbClr val="009FE6"/>
    <a:srgbClr val="008000"/>
    <a:srgbClr val="1CBA54"/>
    <a:srgbClr val="D762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81B299-48F3-4034-9EEB-156415C7BC1C}" v="175" dt="2025-11-07T09:56:35.099"/>
  </p1510:revLst>
</p1510:revInfo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tx1"/>
              </a:solidFill>
            </a:ln>
          </a:bottom>
          <a:insideH>
            <a:ln w="9525" cap="flat" cmpd="sng" algn="ctr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0" d="100"/>
          <a:sy n="70" d="100"/>
        </p:scale>
        <p:origin x="504" y="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randa, Pedro" userId="3b7524d8-3f23-4d54-aa60-db1510a18686" providerId="ADAL" clId="{5C1B55F9-F878-46B7-8E1F-9E90ADBA15C8}"/>
    <pc:docChg chg="undo custSel modSld">
      <pc:chgData name="Miranda, Pedro" userId="3b7524d8-3f23-4d54-aa60-db1510a18686" providerId="ADAL" clId="{5C1B55F9-F878-46B7-8E1F-9E90ADBA15C8}" dt="2025-11-07T10:05:06.598" v="2638" actId="20577"/>
      <pc:docMkLst>
        <pc:docMk/>
      </pc:docMkLst>
      <pc:sldChg chg="modSp mod">
        <pc:chgData name="Miranda, Pedro" userId="3b7524d8-3f23-4d54-aa60-db1510a18686" providerId="ADAL" clId="{5C1B55F9-F878-46B7-8E1F-9E90ADBA15C8}" dt="2025-11-07T09:43:39.681" v="537" actId="20577"/>
        <pc:sldMkLst>
          <pc:docMk/>
          <pc:sldMk cId="3271170592" sldId="314"/>
        </pc:sldMkLst>
        <pc:spChg chg="mod">
          <ac:chgData name="Miranda, Pedro" userId="3b7524d8-3f23-4d54-aa60-db1510a18686" providerId="ADAL" clId="{5C1B55F9-F878-46B7-8E1F-9E90ADBA15C8}" dt="2025-11-07T09:41:15.466" v="458" actId="6549"/>
          <ac:spMkLst>
            <pc:docMk/>
            <pc:sldMk cId="3271170592" sldId="314"/>
            <ac:spMk id="26" creationId="{237935C4-7C77-4E5A-B1AE-20CDBC5A6AC0}"/>
          </ac:spMkLst>
        </pc:spChg>
        <pc:spChg chg="mod">
          <ac:chgData name="Miranda, Pedro" userId="3b7524d8-3f23-4d54-aa60-db1510a18686" providerId="ADAL" clId="{5C1B55F9-F878-46B7-8E1F-9E90ADBA15C8}" dt="2025-11-07T09:40:53.561" v="452" actId="20577"/>
          <ac:spMkLst>
            <pc:docMk/>
            <pc:sldMk cId="3271170592" sldId="314"/>
            <ac:spMk id="49" creationId="{A592316D-6EDE-4070-87AB-660D9EE618BD}"/>
          </ac:spMkLst>
        </pc:spChg>
        <pc:spChg chg="mod">
          <ac:chgData name="Miranda, Pedro" userId="3b7524d8-3f23-4d54-aa60-db1510a18686" providerId="ADAL" clId="{5C1B55F9-F878-46B7-8E1F-9E90ADBA15C8}" dt="2025-11-07T09:41:43.878" v="477" actId="20577"/>
          <ac:spMkLst>
            <pc:docMk/>
            <pc:sldMk cId="3271170592" sldId="314"/>
            <ac:spMk id="57" creationId="{5104059C-40D3-4641-A440-517FD8B9EF7E}"/>
          </ac:spMkLst>
        </pc:spChg>
        <pc:spChg chg="mod">
          <ac:chgData name="Miranda, Pedro" userId="3b7524d8-3f23-4d54-aa60-db1510a18686" providerId="ADAL" clId="{5C1B55F9-F878-46B7-8E1F-9E90ADBA15C8}" dt="2025-11-07T09:43:39.681" v="537" actId="20577"/>
          <ac:spMkLst>
            <pc:docMk/>
            <pc:sldMk cId="3271170592" sldId="314"/>
            <ac:spMk id="63" creationId="{B555EA06-5E06-4A5D-8E61-5CA5B5DBBEA0}"/>
          </ac:spMkLst>
        </pc:spChg>
        <pc:spChg chg="mod">
          <ac:chgData name="Miranda, Pedro" userId="3b7524d8-3f23-4d54-aa60-db1510a18686" providerId="ADAL" clId="{5C1B55F9-F878-46B7-8E1F-9E90ADBA15C8}" dt="2025-11-07T09:42:58.161" v="522" actId="20577"/>
          <ac:spMkLst>
            <pc:docMk/>
            <pc:sldMk cId="3271170592" sldId="314"/>
            <ac:spMk id="64" creationId="{1E628083-FF80-4C4C-B61C-31726A14DF65}"/>
          </ac:spMkLst>
        </pc:spChg>
        <pc:spChg chg="mod">
          <ac:chgData name="Miranda, Pedro" userId="3b7524d8-3f23-4d54-aa60-db1510a18686" providerId="ADAL" clId="{5C1B55F9-F878-46B7-8E1F-9E90ADBA15C8}" dt="2025-11-07T09:43:30.773" v="526" actId="20577"/>
          <ac:spMkLst>
            <pc:docMk/>
            <pc:sldMk cId="3271170592" sldId="314"/>
            <ac:spMk id="66" creationId="{7F7ABF1C-860B-4759-BDFE-CE813ED7973A}"/>
          </ac:spMkLst>
        </pc:spChg>
        <pc:grpChg chg="mod">
          <ac:chgData name="Miranda, Pedro" userId="3b7524d8-3f23-4d54-aa60-db1510a18686" providerId="ADAL" clId="{5C1B55F9-F878-46B7-8E1F-9E90ADBA15C8}" dt="2025-11-07T09:41:25.540" v="473" actId="1036"/>
          <ac:grpSpMkLst>
            <pc:docMk/>
            <pc:sldMk cId="3271170592" sldId="314"/>
            <ac:grpSpMk id="24" creationId="{B6AA8762-D433-4A35-A8DD-63D2A4FC3F75}"/>
          </ac:grpSpMkLst>
        </pc:grpChg>
        <pc:picChg chg="mod">
          <ac:chgData name="Miranda, Pedro" userId="3b7524d8-3f23-4d54-aa60-db1510a18686" providerId="ADAL" clId="{5C1B55F9-F878-46B7-8E1F-9E90ADBA15C8}" dt="2025-11-07T09:41:25.540" v="473" actId="1036"/>
          <ac:picMkLst>
            <pc:docMk/>
            <pc:sldMk cId="3271170592" sldId="314"/>
            <ac:picMk id="37" creationId="{9D5B5BAB-C1F2-4A30-91B0-609499DF7009}"/>
          </ac:picMkLst>
        </pc:picChg>
      </pc:sldChg>
      <pc:sldChg chg="addSp delSp modSp mod">
        <pc:chgData name="Miranda, Pedro" userId="3b7524d8-3f23-4d54-aa60-db1510a18686" providerId="ADAL" clId="{5C1B55F9-F878-46B7-8E1F-9E90ADBA15C8}" dt="2025-11-07T09:31:04.637" v="142"/>
        <pc:sldMkLst>
          <pc:docMk/>
          <pc:sldMk cId="3964450272" sldId="317"/>
        </pc:sldMkLst>
        <pc:spChg chg="add del mod modVis">
          <ac:chgData name="Miranda, Pedro" userId="3b7524d8-3f23-4d54-aa60-db1510a18686" providerId="ADAL" clId="{5C1B55F9-F878-46B7-8E1F-9E90ADBA15C8}" dt="2025-11-07T09:30:15.468" v="47"/>
          <ac:spMkLst>
            <pc:docMk/>
            <pc:sldMk cId="3964450272" sldId="317"/>
            <ac:spMk id="3" creationId="{4F76EFD2-3C78-F6D6-4ACA-33A0ED6B08EF}"/>
          </ac:spMkLst>
        </pc:spChg>
        <pc:spChg chg="add del mod modVis">
          <ac:chgData name="Miranda, Pedro" userId="3b7524d8-3f23-4d54-aa60-db1510a18686" providerId="ADAL" clId="{5C1B55F9-F878-46B7-8E1F-9E90ADBA15C8}" dt="2025-11-07T09:30:26.785" v="82"/>
          <ac:spMkLst>
            <pc:docMk/>
            <pc:sldMk cId="3964450272" sldId="317"/>
            <ac:spMk id="11" creationId="{8D7D2BAE-DF29-7F60-F49F-04D928A3E64F}"/>
          </ac:spMkLst>
        </pc:spChg>
        <pc:spChg chg="add del mod modVis">
          <ac:chgData name="Miranda, Pedro" userId="3b7524d8-3f23-4d54-aa60-db1510a18686" providerId="ADAL" clId="{5C1B55F9-F878-46B7-8E1F-9E90ADBA15C8}" dt="2025-11-07T09:30:39.828" v="109"/>
          <ac:spMkLst>
            <pc:docMk/>
            <pc:sldMk cId="3964450272" sldId="317"/>
            <ac:spMk id="13" creationId="{DA2F71A4-6934-8683-821B-D7F568C734D8}"/>
          </ac:spMkLst>
        </pc:spChg>
        <pc:spChg chg="add del mod modVis">
          <ac:chgData name="Miranda, Pedro" userId="3b7524d8-3f23-4d54-aa60-db1510a18686" providerId="ADAL" clId="{5C1B55F9-F878-46B7-8E1F-9E90ADBA15C8}" dt="2025-11-07T09:31:04.621" v="140"/>
          <ac:spMkLst>
            <pc:docMk/>
            <pc:sldMk cId="3964450272" sldId="317"/>
            <ac:spMk id="14" creationId="{4E07151B-89BC-EB57-7285-A50A0B5D260E}"/>
          </ac:spMkLst>
        </pc:spChg>
        <pc:spChg chg="mod">
          <ac:chgData name="Miranda, Pedro" userId="3b7524d8-3f23-4d54-aa60-db1510a18686" providerId="ADAL" clId="{5C1B55F9-F878-46B7-8E1F-9E90ADBA15C8}" dt="2025-11-07T09:29:35.246" v="16" actId="1035"/>
          <ac:spMkLst>
            <pc:docMk/>
            <pc:sldMk cId="3964450272" sldId="317"/>
            <ac:spMk id="430" creationId="{DD99C0A9-09D1-F4E3-8D5D-D98E54A63AD3}"/>
          </ac:spMkLst>
        </pc:spChg>
        <pc:spChg chg="mod">
          <ac:chgData name="Miranda, Pedro" userId="3b7524d8-3f23-4d54-aa60-db1510a18686" providerId="ADAL" clId="{5C1B55F9-F878-46B7-8E1F-9E90ADBA15C8}" dt="2025-11-07T09:29:35.246" v="16" actId="1035"/>
          <ac:spMkLst>
            <pc:docMk/>
            <pc:sldMk cId="3964450272" sldId="317"/>
            <ac:spMk id="431" creationId="{AFD4E9A5-63AE-4617-B299-3B4CE0695E20}"/>
          </ac:spMkLst>
        </pc:spChg>
        <pc:spChg chg="mod">
          <ac:chgData name="Miranda, Pedro" userId="3b7524d8-3f23-4d54-aa60-db1510a18686" providerId="ADAL" clId="{5C1B55F9-F878-46B7-8E1F-9E90ADBA15C8}" dt="2025-11-07T09:29:35.246" v="16" actId="1035"/>
          <ac:spMkLst>
            <pc:docMk/>
            <pc:sldMk cId="3964450272" sldId="317"/>
            <ac:spMk id="432" creationId="{428C95C5-B693-F53B-C8D7-A79BDBB13E35}"/>
          </ac:spMkLst>
        </pc:spChg>
        <pc:spChg chg="mod">
          <ac:chgData name="Miranda, Pedro" userId="3b7524d8-3f23-4d54-aa60-db1510a18686" providerId="ADAL" clId="{5C1B55F9-F878-46B7-8E1F-9E90ADBA15C8}" dt="2025-11-07T09:29:35.246" v="16" actId="1035"/>
          <ac:spMkLst>
            <pc:docMk/>
            <pc:sldMk cId="3964450272" sldId="317"/>
            <ac:spMk id="433" creationId="{D93123C1-BF57-3706-3B6E-B2DFF71C8960}"/>
          </ac:spMkLst>
        </pc:spChg>
        <pc:spChg chg="mod">
          <ac:chgData name="Miranda, Pedro" userId="3b7524d8-3f23-4d54-aa60-db1510a18686" providerId="ADAL" clId="{5C1B55F9-F878-46B7-8E1F-9E90ADBA15C8}" dt="2025-11-07T09:31:04.558" v="119" actId="948"/>
          <ac:spMkLst>
            <pc:docMk/>
            <pc:sldMk cId="3964450272" sldId="317"/>
            <ac:spMk id="614" creationId="{4FC9ADAF-067F-2A7B-CE4E-09D7091D6A5A}"/>
          </ac:spMkLst>
        </pc:spChg>
        <pc:graphicFrameChg chg="mod">
          <ac:chgData name="Miranda, Pedro" userId="3b7524d8-3f23-4d54-aa60-db1510a18686" providerId="ADAL" clId="{5C1B55F9-F878-46B7-8E1F-9E90ADBA15C8}" dt="2025-11-07T09:31:04.637" v="142"/>
          <ac:graphicFrameMkLst>
            <pc:docMk/>
            <pc:sldMk cId="3964450272" sldId="317"/>
            <ac:graphicFrameMk id="4" creationId="{5C47C713-9BE6-10B0-EFBE-F2029DEDDF98}"/>
          </ac:graphicFrameMkLst>
        </pc:graphicFrameChg>
      </pc:sldChg>
      <pc:sldChg chg="modSp mod">
        <pc:chgData name="Miranda, Pedro" userId="3b7524d8-3f23-4d54-aa60-db1510a18686" providerId="ADAL" clId="{5C1B55F9-F878-46B7-8E1F-9E90ADBA15C8}" dt="2025-11-07T09:37:38.045" v="234" actId="113"/>
        <pc:sldMkLst>
          <pc:docMk/>
          <pc:sldMk cId="374154452" sldId="318"/>
        </pc:sldMkLst>
        <pc:spChg chg="mod">
          <ac:chgData name="Miranda, Pedro" userId="3b7524d8-3f23-4d54-aa60-db1510a18686" providerId="ADAL" clId="{5C1B55F9-F878-46B7-8E1F-9E90ADBA15C8}" dt="2025-11-07T09:36:22.598" v="194" actId="20577"/>
          <ac:spMkLst>
            <pc:docMk/>
            <pc:sldMk cId="374154452" sldId="318"/>
            <ac:spMk id="11" creationId="{487F2B21-DE4D-C0BF-4755-B132D20D0467}"/>
          </ac:spMkLst>
        </pc:spChg>
        <pc:spChg chg="mod">
          <ac:chgData name="Miranda, Pedro" userId="3b7524d8-3f23-4d54-aa60-db1510a18686" providerId="ADAL" clId="{5C1B55F9-F878-46B7-8E1F-9E90ADBA15C8}" dt="2025-11-07T09:34:09.291" v="167" actId="20577"/>
          <ac:spMkLst>
            <pc:docMk/>
            <pc:sldMk cId="374154452" sldId="318"/>
            <ac:spMk id="20" creationId="{F75DDB43-71C5-7C07-93D7-FCEFA9F1B00D}"/>
          </ac:spMkLst>
        </pc:spChg>
        <pc:spChg chg="mod">
          <ac:chgData name="Miranda, Pedro" userId="3b7524d8-3f23-4d54-aa60-db1510a18686" providerId="ADAL" clId="{5C1B55F9-F878-46B7-8E1F-9E90ADBA15C8}" dt="2025-11-07T09:34:00.804" v="162" actId="20577"/>
          <ac:spMkLst>
            <pc:docMk/>
            <pc:sldMk cId="374154452" sldId="318"/>
            <ac:spMk id="21" creationId="{92A88840-3B85-0DF3-0FF9-6EE88421D93A}"/>
          </ac:spMkLst>
        </pc:spChg>
        <pc:spChg chg="mod">
          <ac:chgData name="Miranda, Pedro" userId="3b7524d8-3f23-4d54-aa60-db1510a18686" providerId="ADAL" clId="{5C1B55F9-F878-46B7-8E1F-9E90ADBA15C8}" dt="2025-11-07T09:36:06.892" v="189" actId="6549"/>
          <ac:spMkLst>
            <pc:docMk/>
            <pc:sldMk cId="374154452" sldId="318"/>
            <ac:spMk id="22" creationId="{1EFED28A-1695-130D-AF95-4BE7E1F1077B}"/>
          </ac:spMkLst>
        </pc:spChg>
        <pc:spChg chg="mod">
          <ac:chgData name="Miranda, Pedro" userId="3b7524d8-3f23-4d54-aa60-db1510a18686" providerId="ADAL" clId="{5C1B55F9-F878-46B7-8E1F-9E90ADBA15C8}" dt="2025-11-07T09:33:50.736" v="157" actId="404"/>
          <ac:spMkLst>
            <pc:docMk/>
            <pc:sldMk cId="374154452" sldId="318"/>
            <ac:spMk id="23" creationId="{FFBF35ED-18A0-FD9D-8B84-DFA19F3ACCA4}"/>
          </ac:spMkLst>
        </pc:spChg>
        <pc:spChg chg="mod">
          <ac:chgData name="Miranda, Pedro" userId="3b7524d8-3f23-4d54-aa60-db1510a18686" providerId="ADAL" clId="{5C1B55F9-F878-46B7-8E1F-9E90ADBA15C8}" dt="2025-11-07T09:36:13.333" v="193" actId="20577"/>
          <ac:spMkLst>
            <pc:docMk/>
            <pc:sldMk cId="374154452" sldId="318"/>
            <ac:spMk id="24" creationId="{160621AD-6A1D-78E1-280A-6F3531BDA6BC}"/>
          </ac:spMkLst>
        </pc:spChg>
        <pc:spChg chg="mod">
          <ac:chgData name="Miranda, Pedro" userId="3b7524d8-3f23-4d54-aa60-db1510a18686" providerId="ADAL" clId="{5C1B55F9-F878-46B7-8E1F-9E90ADBA15C8}" dt="2025-11-07T09:36:45.310" v="195" actId="20577"/>
          <ac:spMkLst>
            <pc:docMk/>
            <pc:sldMk cId="374154452" sldId="318"/>
            <ac:spMk id="32" creationId="{41A822AC-6768-2F14-96E3-49EB2B1BA6BA}"/>
          </ac:spMkLst>
        </pc:spChg>
        <pc:spChg chg="mod">
          <ac:chgData name="Miranda, Pedro" userId="3b7524d8-3f23-4d54-aa60-db1510a18686" providerId="ADAL" clId="{5C1B55F9-F878-46B7-8E1F-9E90ADBA15C8}" dt="2025-11-07T09:36:50.202" v="198" actId="20577"/>
          <ac:spMkLst>
            <pc:docMk/>
            <pc:sldMk cId="374154452" sldId="318"/>
            <ac:spMk id="33" creationId="{DDF57601-8527-9218-30F3-A5AF0B7A4AB4}"/>
          </ac:spMkLst>
        </pc:spChg>
        <pc:spChg chg="mod">
          <ac:chgData name="Miranda, Pedro" userId="3b7524d8-3f23-4d54-aa60-db1510a18686" providerId="ADAL" clId="{5C1B55F9-F878-46B7-8E1F-9E90ADBA15C8}" dt="2025-11-07T09:35:01.664" v="182" actId="20577"/>
          <ac:spMkLst>
            <pc:docMk/>
            <pc:sldMk cId="374154452" sldId="318"/>
            <ac:spMk id="41" creationId="{6C35861C-CEC0-211B-AB7D-4BAE0CFB6331}"/>
          </ac:spMkLst>
        </pc:spChg>
        <pc:spChg chg="mod">
          <ac:chgData name="Miranda, Pedro" userId="3b7524d8-3f23-4d54-aa60-db1510a18686" providerId="ADAL" clId="{5C1B55F9-F878-46B7-8E1F-9E90ADBA15C8}" dt="2025-11-07T09:37:38.045" v="234" actId="113"/>
          <ac:spMkLst>
            <pc:docMk/>
            <pc:sldMk cId="374154452" sldId="318"/>
            <ac:spMk id="55" creationId="{F0A85A75-2167-A106-5A49-5AF29EA7F1A1}"/>
          </ac:spMkLst>
        </pc:spChg>
      </pc:sldChg>
      <pc:sldChg chg="addSp delSp modSp mod">
        <pc:chgData name="Miranda, Pedro" userId="3b7524d8-3f23-4d54-aa60-db1510a18686" providerId="ADAL" clId="{5C1B55F9-F878-46B7-8E1F-9E90ADBA15C8}" dt="2025-11-07T10:05:06.598" v="2638" actId="20577"/>
        <pc:sldMkLst>
          <pc:docMk/>
          <pc:sldMk cId="1235879564" sldId="321"/>
        </pc:sldMkLst>
        <pc:spChg chg="add del mod modVis">
          <ac:chgData name="Miranda, Pedro" userId="3b7524d8-3f23-4d54-aa60-db1510a18686" providerId="ADAL" clId="{5C1B55F9-F878-46B7-8E1F-9E90ADBA15C8}" dt="2025-11-07T09:44:26.291" v="577"/>
          <ac:spMkLst>
            <pc:docMk/>
            <pc:sldMk cId="1235879564" sldId="321"/>
            <ac:spMk id="2" creationId="{6511A038-662C-E63F-26FB-ABD860A671EA}"/>
          </ac:spMkLst>
        </pc:spChg>
        <pc:spChg chg="add del mod modVis">
          <ac:chgData name="Miranda, Pedro" userId="3b7524d8-3f23-4d54-aa60-db1510a18686" providerId="ADAL" clId="{5C1B55F9-F878-46B7-8E1F-9E90ADBA15C8}" dt="2025-11-07T09:44:27.695" v="615"/>
          <ac:spMkLst>
            <pc:docMk/>
            <pc:sldMk cId="1235879564" sldId="321"/>
            <ac:spMk id="3" creationId="{98BF5459-D62D-FCE8-1163-02DA8B428C0C}"/>
          </ac:spMkLst>
        </pc:spChg>
        <pc:spChg chg="add del mod modVis">
          <ac:chgData name="Miranda, Pedro" userId="3b7524d8-3f23-4d54-aa60-db1510a18686" providerId="ADAL" clId="{5C1B55F9-F878-46B7-8E1F-9E90ADBA15C8}" dt="2025-11-07T09:44:49.522" v="664"/>
          <ac:spMkLst>
            <pc:docMk/>
            <pc:sldMk cId="1235879564" sldId="321"/>
            <ac:spMk id="4" creationId="{EBFCA2F8-3A14-BECA-1FA6-C3A711493D53}"/>
          </ac:spMkLst>
        </pc:spChg>
        <pc:spChg chg="mod ord">
          <ac:chgData name="Miranda, Pedro" userId="3b7524d8-3f23-4d54-aa60-db1510a18686" providerId="ADAL" clId="{5C1B55F9-F878-46B7-8E1F-9E90ADBA15C8}" dt="2025-11-07T09:52:33.414" v="1246"/>
          <ac:spMkLst>
            <pc:docMk/>
            <pc:sldMk cId="1235879564" sldId="321"/>
            <ac:spMk id="5" creationId="{F86D9FEF-10D7-D899-FC58-E0711E447EC9}"/>
          </ac:spMkLst>
        </pc:spChg>
        <pc:spChg chg="add del mod modVis">
          <ac:chgData name="Miranda, Pedro" userId="3b7524d8-3f23-4d54-aa60-db1510a18686" providerId="ADAL" clId="{5C1B55F9-F878-46B7-8E1F-9E90ADBA15C8}" dt="2025-11-07T09:44:51.891" v="707"/>
          <ac:spMkLst>
            <pc:docMk/>
            <pc:sldMk cId="1235879564" sldId="321"/>
            <ac:spMk id="6" creationId="{65486096-CBB7-BE77-F350-9B47F2C49472}"/>
          </ac:spMkLst>
        </pc:spChg>
        <pc:spChg chg="add del mod modVis">
          <ac:chgData name="Miranda, Pedro" userId="3b7524d8-3f23-4d54-aa60-db1510a18686" providerId="ADAL" clId="{5C1B55F9-F878-46B7-8E1F-9E90ADBA15C8}" dt="2025-11-07T09:44:55.262" v="751"/>
          <ac:spMkLst>
            <pc:docMk/>
            <pc:sldMk cId="1235879564" sldId="321"/>
            <ac:spMk id="7" creationId="{B0364FE7-30F5-0572-877E-F26159F75476}"/>
          </ac:spMkLst>
        </pc:spChg>
        <pc:spChg chg="mod ord">
          <ac:chgData name="Miranda, Pedro" userId="3b7524d8-3f23-4d54-aa60-db1510a18686" providerId="ADAL" clId="{5C1B55F9-F878-46B7-8E1F-9E90ADBA15C8}" dt="2025-11-07T09:52:33.414" v="1248"/>
          <ac:spMkLst>
            <pc:docMk/>
            <pc:sldMk cId="1235879564" sldId="321"/>
            <ac:spMk id="8" creationId="{787946A6-4511-9C46-AD2B-73147830A6FF}"/>
          </ac:spMkLst>
        </pc:spChg>
        <pc:spChg chg="add del mod modVis">
          <ac:chgData name="Miranda, Pedro" userId="3b7524d8-3f23-4d54-aa60-db1510a18686" providerId="ADAL" clId="{5C1B55F9-F878-46B7-8E1F-9E90ADBA15C8}" dt="2025-11-07T09:44:59.344" v="784"/>
          <ac:spMkLst>
            <pc:docMk/>
            <pc:sldMk cId="1235879564" sldId="321"/>
            <ac:spMk id="10" creationId="{0BF63066-FDD0-5CA2-E1E7-8B687D62F6DB}"/>
          </ac:spMkLst>
        </pc:spChg>
        <pc:spChg chg="add del mod modVis">
          <ac:chgData name="Miranda, Pedro" userId="3b7524d8-3f23-4d54-aa60-db1510a18686" providerId="ADAL" clId="{5C1B55F9-F878-46B7-8E1F-9E90ADBA15C8}" dt="2025-11-07T09:45:01.803" v="819"/>
          <ac:spMkLst>
            <pc:docMk/>
            <pc:sldMk cId="1235879564" sldId="321"/>
            <ac:spMk id="11" creationId="{3A5C642E-AA4D-8C74-A98E-05147B30766F}"/>
          </ac:spMkLst>
        </pc:spChg>
        <pc:spChg chg="mod ord">
          <ac:chgData name="Miranda, Pedro" userId="3b7524d8-3f23-4d54-aa60-db1510a18686" providerId="ADAL" clId="{5C1B55F9-F878-46B7-8E1F-9E90ADBA15C8}" dt="2025-11-07T09:52:33.414" v="1250"/>
          <ac:spMkLst>
            <pc:docMk/>
            <pc:sldMk cId="1235879564" sldId="321"/>
            <ac:spMk id="12" creationId="{2B90D913-30D4-D4EE-CDDA-F22A50F1309A}"/>
          </ac:spMkLst>
        </pc:spChg>
        <pc:spChg chg="mod ord">
          <ac:chgData name="Miranda, Pedro" userId="3b7524d8-3f23-4d54-aa60-db1510a18686" providerId="ADAL" clId="{5C1B55F9-F878-46B7-8E1F-9E90ADBA15C8}" dt="2025-11-07T09:52:33.414" v="1252"/>
          <ac:spMkLst>
            <pc:docMk/>
            <pc:sldMk cId="1235879564" sldId="321"/>
            <ac:spMk id="13" creationId="{A9BC3BCC-E91C-B3B9-85F4-F672FC0D757E}"/>
          </ac:spMkLst>
        </pc:spChg>
        <pc:spChg chg="mod ord">
          <ac:chgData name="Miranda, Pedro" userId="3b7524d8-3f23-4d54-aa60-db1510a18686" providerId="ADAL" clId="{5C1B55F9-F878-46B7-8E1F-9E90ADBA15C8}" dt="2025-11-07T09:52:33.414" v="1254"/>
          <ac:spMkLst>
            <pc:docMk/>
            <pc:sldMk cId="1235879564" sldId="321"/>
            <ac:spMk id="14" creationId="{0BC3E211-B2FF-CFB1-4456-B31BE958CE6C}"/>
          </ac:spMkLst>
        </pc:spChg>
        <pc:spChg chg="add del mod modVis">
          <ac:chgData name="Miranda, Pedro" userId="3b7524d8-3f23-4d54-aa60-db1510a18686" providerId="ADAL" clId="{5C1B55F9-F878-46B7-8E1F-9E90ADBA15C8}" dt="2025-11-07T09:45:18.989" v="857"/>
          <ac:spMkLst>
            <pc:docMk/>
            <pc:sldMk cId="1235879564" sldId="321"/>
            <ac:spMk id="15" creationId="{1B7878DB-7D76-AA58-5119-8DE43F793729}"/>
          </ac:spMkLst>
        </pc:spChg>
        <pc:spChg chg="add del mod modVis">
          <ac:chgData name="Miranda, Pedro" userId="3b7524d8-3f23-4d54-aa60-db1510a18686" providerId="ADAL" clId="{5C1B55F9-F878-46B7-8E1F-9E90ADBA15C8}" dt="2025-11-07T09:45:23.346" v="914"/>
          <ac:spMkLst>
            <pc:docMk/>
            <pc:sldMk cId="1235879564" sldId="321"/>
            <ac:spMk id="16" creationId="{DC984755-5D64-2247-8ECB-8F059DAA0E5B}"/>
          </ac:spMkLst>
        </pc:spChg>
        <pc:spChg chg="mod ord">
          <ac:chgData name="Miranda, Pedro" userId="3b7524d8-3f23-4d54-aa60-db1510a18686" providerId="ADAL" clId="{5C1B55F9-F878-46B7-8E1F-9E90ADBA15C8}" dt="2025-11-07T09:52:33.414" v="1256"/>
          <ac:spMkLst>
            <pc:docMk/>
            <pc:sldMk cId="1235879564" sldId="321"/>
            <ac:spMk id="17" creationId="{13328ABE-E7AC-6530-0BDC-988479832252}"/>
          </ac:spMkLst>
        </pc:spChg>
        <pc:spChg chg="mod ord">
          <ac:chgData name="Miranda, Pedro" userId="3b7524d8-3f23-4d54-aa60-db1510a18686" providerId="ADAL" clId="{5C1B55F9-F878-46B7-8E1F-9E90ADBA15C8}" dt="2025-11-07T09:52:33.414" v="1244"/>
          <ac:spMkLst>
            <pc:docMk/>
            <pc:sldMk cId="1235879564" sldId="321"/>
            <ac:spMk id="18" creationId="{4433C08B-91BC-5422-9C3F-23E0F320ADEC}"/>
          </ac:spMkLst>
        </pc:spChg>
        <pc:spChg chg="mod ord">
          <ac:chgData name="Miranda, Pedro" userId="3b7524d8-3f23-4d54-aa60-db1510a18686" providerId="ADAL" clId="{5C1B55F9-F878-46B7-8E1F-9E90ADBA15C8}" dt="2025-11-07T09:52:33.414" v="1242"/>
          <ac:spMkLst>
            <pc:docMk/>
            <pc:sldMk cId="1235879564" sldId="321"/>
            <ac:spMk id="19" creationId="{D6A7F39F-C1C5-329C-3EB1-C47D5B5E8F69}"/>
          </ac:spMkLst>
        </pc:spChg>
        <pc:spChg chg="add del mod modVis">
          <ac:chgData name="Miranda, Pedro" userId="3b7524d8-3f23-4d54-aa60-db1510a18686" providerId="ADAL" clId="{5C1B55F9-F878-46B7-8E1F-9E90ADBA15C8}" dt="2025-11-07T09:45:24.208" v="947"/>
          <ac:spMkLst>
            <pc:docMk/>
            <pc:sldMk cId="1235879564" sldId="321"/>
            <ac:spMk id="20" creationId="{7C359D43-BF07-5FDB-60C8-6B8C90A079EC}"/>
          </ac:spMkLst>
        </pc:spChg>
        <pc:spChg chg="add del mod modVis">
          <ac:chgData name="Miranda, Pedro" userId="3b7524d8-3f23-4d54-aa60-db1510a18686" providerId="ADAL" clId="{5C1B55F9-F878-46B7-8E1F-9E90ADBA15C8}" dt="2025-11-07T09:45:25.023" v="981"/>
          <ac:spMkLst>
            <pc:docMk/>
            <pc:sldMk cId="1235879564" sldId="321"/>
            <ac:spMk id="21" creationId="{339B493F-F478-8E3B-EF57-61AB52ABC6B3}"/>
          </ac:spMkLst>
        </pc:spChg>
        <pc:spChg chg="add mod">
          <ac:chgData name="Miranda, Pedro" userId="3b7524d8-3f23-4d54-aa60-db1510a18686" providerId="ADAL" clId="{5C1B55F9-F878-46B7-8E1F-9E90ADBA15C8}" dt="2025-11-07T09:48:30.630" v="1116"/>
          <ac:spMkLst>
            <pc:docMk/>
            <pc:sldMk cId="1235879564" sldId="321"/>
            <ac:spMk id="22" creationId="{54BF5D5E-327B-A82D-DEBC-52231EF4324A}"/>
          </ac:spMkLst>
        </pc:spChg>
        <pc:spChg chg="mod ord">
          <ac:chgData name="Miranda, Pedro" userId="3b7524d8-3f23-4d54-aa60-db1510a18686" providerId="ADAL" clId="{5C1B55F9-F878-46B7-8E1F-9E90ADBA15C8}" dt="2025-11-07T09:52:33.424" v="1262"/>
          <ac:spMkLst>
            <pc:docMk/>
            <pc:sldMk cId="1235879564" sldId="321"/>
            <ac:spMk id="25" creationId="{5B88E3D2-1374-1816-FC8B-45E182E898B7}"/>
          </ac:spMkLst>
        </pc:spChg>
        <pc:spChg chg="mod ord">
          <ac:chgData name="Miranda, Pedro" userId="3b7524d8-3f23-4d54-aa60-db1510a18686" providerId="ADAL" clId="{5C1B55F9-F878-46B7-8E1F-9E90ADBA15C8}" dt="2025-11-07T09:52:33.424" v="1264"/>
          <ac:spMkLst>
            <pc:docMk/>
            <pc:sldMk cId="1235879564" sldId="321"/>
            <ac:spMk id="26" creationId="{95E3C29F-9318-D6A1-C1F9-260F4FA95634}"/>
          </ac:spMkLst>
        </pc:spChg>
        <pc:spChg chg="mod ord">
          <ac:chgData name="Miranda, Pedro" userId="3b7524d8-3f23-4d54-aa60-db1510a18686" providerId="ADAL" clId="{5C1B55F9-F878-46B7-8E1F-9E90ADBA15C8}" dt="2025-11-07T09:52:33.424" v="1266"/>
          <ac:spMkLst>
            <pc:docMk/>
            <pc:sldMk cId="1235879564" sldId="321"/>
            <ac:spMk id="27" creationId="{7BA465A3-BEF5-493E-9764-64399637FF09}"/>
          </ac:spMkLst>
        </pc:spChg>
        <pc:spChg chg="mod ord">
          <ac:chgData name="Miranda, Pedro" userId="3b7524d8-3f23-4d54-aa60-db1510a18686" providerId="ADAL" clId="{5C1B55F9-F878-46B7-8E1F-9E90ADBA15C8}" dt="2025-11-07T09:52:33.424" v="1268"/>
          <ac:spMkLst>
            <pc:docMk/>
            <pc:sldMk cId="1235879564" sldId="321"/>
            <ac:spMk id="28" creationId="{FEFCB75A-CEC9-D10C-5611-9A8C55636ABF}"/>
          </ac:spMkLst>
        </pc:spChg>
        <pc:spChg chg="mod ord">
          <ac:chgData name="Miranda, Pedro" userId="3b7524d8-3f23-4d54-aa60-db1510a18686" providerId="ADAL" clId="{5C1B55F9-F878-46B7-8E1F-9E90ADBA15C8}" dt="2025-11-07T09:52:33.424" v="1270"/>
          <ac:spMkLst>
            <pc:docMk/>
            <pc:sldMk cId="1235879564" sldId="321"/>
            <ac:spMk id="29" creationId="{7BCB21E9-688A-F01E-87B0-42B38315E35C}"/>
          </ac:spMkLst>
        </pc:spChg>
        <pc:spChg chg="mod ord">
          <ac:chgData name="Miranda, Pedro" userId="3b7524d8-3f23-4d54-aa60-db1510a18686" providerId="ADAL" clId="{5C1B55F9-F878-46B7-8E1F-9E90ADBA15C8}" dt="2025-11-07T10:05:06.598" v="2638" actId="20577"/>
          <ac:spMkLst>
            <pc:docMk/>
            <pc:sldMk cId="1235879564" sldId="321"/>
            <ac:spMk id="30" creationId="{D2ACEBD1-54D3-E71B-1344-AE3228841963}"/>
          </ac:spMkLst>
        </pc:spChg>
        <pc:spChg chg="add mod ord">
          <ac:chgData name="Miranda, Pedro" userId="3b7524d8-3f23-4d54-aa60-db1510a18686" providerId="ADAL" clId="{5C1B55F9-F878-46B7-8E1F-9E90ADBA15C8}" dt="2025-11-07T09:52:43.045" v="1317" actId="1036"/>
          <ac:spMkLst>
            <pc:docMk/>
            <pc:sldMk cId="1235879564" sldId="321"/>
            <ac:spMk id="31" creationId="{F009E0FD-F7BF-DF4D-4E09-04C85A477359}"/>
          </ac:spMkLst>
        </pc:spChg>
        <pc:spChg chg="add mod ord">
          <ac:chgData name="Miranda, Pedro" userId="3b7524d8-3f23-4d54-aa60-db1510a18686" providerId="ADAL" clId="{5C1B55F9-F878-46B7-8E1F-9E90ADBA15C8}" dt="2025-11-07T09:52:43.045" v="1317" actId="1036"/>
          <ac:spMkLst>
            <pc:docMk/>
            <pc:sldMk cId="1235879564" sldId="321"/>
            <ac:spMk id="32" creationId="{BD7CE675-8CF6-F0E0-8AA6-5DCF5DE4D32F}"/>
          </ac:spMkLst>
        </pc:spChg>
        <pc:spChg chg="add mod ord">
          <ac:chgData name="Miranda, Pedro" userId="3b7524d8-3f23-4d54-aa60-db1510a18686" providerId="ADAL" clId="{5C1B55F9-F878-46B7-8E1F-9E90ADBA15C8}" dt="2025-11-07T09:52:57.662" v="1363" actId="1036"/>
          <ac:spMkLst>
            <pc:docMk/>
            <pc:sldMk cId="1235879564" sldId="321"/>
            <ac:spMk id="35" creationId="{2F8116A3-5D26-BF4D-4975-20676A1B138E}"/>
          </ac:spMkLst>
        </pc:spChg>
        <pc:spChg chg="mod ord">
          <ac:chgData name="Miranda, Pedro" userId="3b7524d8-3f23-4d54-aa60-db1510a18686" providerId="ADAL" clId="{5C1B55F9-F878-46B7-8E1F-9E90ADBA15C8}" dt="2025-11-07T09:52:33.424" v="1278"/>
          <ac:spMkLst>
            <pc:docMk/>
            <pc:sldMk cId="1235879564" sldId="321"/>
            <ac:spMk id="36" creationId="{DAC0B7CE-E2A1-58FC-6FDE-EF5A2F389F29}"/>
          </ac:spMkLst>
        </pc:spChg>
        <pc:spChg chg="mod ord">
          <ac:chgData name="Miranda, Pedro" userId="3b7524d8-3f23-4d54-aa60-db1510a18686" providerId="ADAL" clId="{5C1B55F9-F878-46B7-8E1F-9E90ADBA15C8}" dt="2025-11-07T09:52:33.424" v="1280"/>
          <ac:spMkLst>
            <pc:docMk/>
            <pc:sldMk cId="1235879564" sldId="321"/>
            <ac:spMk id="37" creationId="{6094D61C-2F5F-AC24-E25A-F5A26EE0E1CD}"/>
          </ac:spMkLst>
        </pc:spChg>
        <pc:spChg chg="add mod">
          <ac:chgData name="Miranda, Pedro" userId="3b7524d8-3f23-4d54-aa60-db1510a18686" providerId="ADAL" clId="{5C1B55F9-F878-46B7-8E1F-9E90ADBA15C8}" dt="2025-11-07T09:51:15.504" v="1164"/>
          <ac:spMkLst>
            <pc:docMk/>
            <pc:sldMk cId="1235879564" sldId="321"/>
            <ac:spMk id="39" creationId="{1482B404-C2FA-426D-7BA1-6D79DDECE217}"/>
          </ac:spMkLst>
        </pc:spChg>
        <pc:spChg chg="add mod ord">
          <ac:chgData name="Miranda, Pedro" userId="3b7524d8-3f23-4d54-aa60-db1510a18686" providerId="ADAL" clId="{5C1B55F9-F878-46B7-8E1F-9E90ADBA15C8}" dt="2025-11-07T09:53:21.724" v="1369" actId="20577"/>
          <ac:spMkLst>
            <pc:docMk/>
            <pc:sldMk cId="1235879564" sldId="321"/>
            <ac:spMk id="40" creationId="{0D6D4FAC-163D-ECC4-1761-C6A1BE3E3358}"/>
          </ac:spMkLst>
        </pc:spChg>
        <pc:spChg chg="add mod ord">
          <ac:chgData name="Miranda, Pedro" userId="3b7524d8-3f23-4d54-aa60-db1510a18686" providerId="ADAL" clId="{5C1B55F9-F878-46B7-8E1F-9E90ADBA15C8}" dt="2025-11-07T09:53:01.038" v="1364" actId="14100"/>
          <ac:spMkLst>
            <pc:docMk/>
            <pc:sldMk cId="1235879564" sldId="321"/>
            <ac:spMk id="41" creationId="{25A41B80-FC1D-6F55-F1C6-E4526894C4BA}"/>
          </ac:spMkLst>
        </pc:spChg>
        <pc:spChg chg="mod ord">
          <ac:chgData name="Miranda, Pedro" userId="3b7524d8-3f23-4d54-aa60-db1510a18686" providerId="ADAL" clId="{5C1B55F9-F878-46B7-8E1F-9E90ADBA15C8}" dt="2025-11-07T09:53:32.552" v="1371" actId="20577"/>
          <ac:spMkLst>
            <pc:docMk/>
            <pc:sldMk cId="1235879564" sldId="321"/>
            <ac:spMk id="42" creationId="{B2B1AA3F-96A7-47F7-6BD6-CC04CF897CFD}"/>
          </ac:spMkLst>
        </pc:spChg>
        <pc:spChg chg="del">
          <ac:chgData name="Miranda, Pedro" userId="3b7524d8-3f23-4d54-aa60-db1510a18686" providerId="ADAL" clId="{5C1B55F9-F878-46B7-8E1F-9E90ADBA15C8}" dt="2025-11-07T09:48:21.722" v="1114" actId="478"/>
          <ac:spMkLst>
            <pc:docMk/>
            <pc:sldMk cId="1235879564" sldId="321"/>
            <ac:spMk id="43" creationId="{F73E7E3B-798F-4024-8B17-E7FAC9467299}"/>
          </ac:spMkLst>
        </pc:spChg>
        <pc:spChg chg="del">
          <ac:chgData name="Miranda, Pedro" userId="3b7524d8-3f23-4d54-aa60-db1510a18686" providerId="ADAL" clId="{5C1B55F9-F878-46B7-8E1F-9E90ADBA15C8}" dt="2025-11-07T09:47:35.310" v="1012" actId="478"/>
          <ac:spMkLst>
            <pc:docMk/>
            <pc:sldMk cId="1235879564" sldId="321"/>
            <ac:spMk id="44" creationId="{C4871016-9705-689B-72A9-099C6A011176}"/>
          </ac:spMkLst>
        </pc:spChg>
        <pc:spChg chg="del">
          <ac:chgData name="Miranda, Pedro" userId="3b7524d8-3f23-4d54-aa60-db1510a18686" providerId="ADAL" clId="{5C1B55F9-F878-46B7-8E1F-9E90ADBA15C8}" dt="2025-11-07T09:48:17.086" v="1113" actId="478"/>
          <ac:spMkLst>
            <pc:docMk/>
            <pc:sldMk cId="1235879564" sldId="321"/>
            <ac:spMk id="45" creationId="{3ED0E8F9-B4C7-4FC6-0B76-928DA6261CD4}"/>
          </ac:spMkLst>
        </pc:spChg>
        <pc:spChg chg="del mod ord">
          <ac:chgData name="Miranda, Pedro" userId="3b7524d8-3f23-4d54-aa60-db1510a18686" providerId="ADAL" clId="{5C1B55F9-F878-46B7-8E1F-9E90ADBA15C8}" dt="2025-11-07T09:53:06.626" v="1366" actId="478"/>
          <ac:spMkLst>
            <pc:docMk/>
            <pc:sldMk cId="1235879564" sldId="321"/>
            <ac:spMk id="46" creationId="{3BCA53CF-A6D2-F370-A184-0F235DECFA4B}"/>
          </ac:spMkLst>
        </pc:spChg>
        <pc:spChg chg="mod ord">
          <ac:chgData name="Miranda, Pedro" userId="3b7524d8-3f23-4d54-aa60-db1510a18686" providerId="ADAL" clId="{5C1B55F9-F878-46B7-8E1F-9E90ADBA15C8}" dt="2025-11-07T09:52:33.414" v="1240"/>
          <ac:spMkLst>
            <pc:docMk/>
            <pc:sldMk cId="1235879564" sldId="321"/>
            <ac:spMk id="48" creationId="{8005EC9B-E189-AA96-092F-22C2568B8BC3}"/>
          </ac:spMkLst>
        </pc:spChg>
        <pc:spChg chg="mod ord">
          <ac:chgData name="Miranda, Pedro" userId="3b7524d8-3f23-4d54-aa60-db1510a18686" providerId="ADAL" clId="{5C1B55F9-F878-46B7-8E1F-9E90ADBA15C8}" dt="2025-11-07T09:52:33.407" v="1238"/>
          <ac:spMkLst>
            <pc:docMk/>
            <pc:sldMk cId="1235879564" sldId="321"/>
            <ac:spMk id="49" creationId="{8784E8EA-30AF-D6BD-A8F6-C81ED333BD2B}"/>
          </ac:spMkLst>
        </pc:spChg>
        <pc:spChg chg="del">
          <ac:chgData name="Miranda, Pedro" userId="3b7524d8-3f23-4d54-aa60-db1510a18686" providerId="ADAL" clId="{5C1B55F9-F878-46B7-8E1F-9E90ADBA15C8}" dt="2025-11-07T09:47:38.946" v="1013" actId="478"/>
          <ac:spMkLst>
            <pc:docMk/>
            <pc:sldMk cId="1235879564" sldId="321"/>
            <ac:spMk id="50" creationId="{1286F3CC-45EA-8713-9727-C0475ECD498F}"/>
          </ac:spMkLst>
        </pc:spChg>
        <pc:spChg chg="add del mod modVis">
          <ac:chgData name="Miranda, Pedro" userId="3b7524d8-3f23-4d54-aa60-db1510a18686" providerId="ADAL" clId="{5C1B55F9-F878-46B7-8E1F-9E90ADBA15C8}" dt="2025-11-07T09:54:36.356" v="1440"/>
          <ac:spMkLst>
            <pc:docMk/>
            <pc:sldMk cId="1235879564" sldId="321"/>
            <ac:spMk id="51" creationId="{16206AC7-9081-A53A-DAB7-21168CE5B22B}"/>
          </ac:spMkLst>
        </pc:spChg>
        <pc:spChg chg="mod ord">
          <ac:chgData name="Miranda, Pedro" userId="3b7524d8-3f23-4d54-aa60-db1510a18686" providerId="ADAL" clId="{5C1B55F9-F878-46B7-8E1F-9E90ADBA15C8}" dt="2025-11-07T09:54:36.293" v="1411" actId="948"/>
          <ac:spMkLst>
            <pc:docMk/>
            <pc:sldMk cId="1235879564" sldId="321"/>
            <ac:spMk id="96" creationId="{8E55A4FD-FCEC-482E-7EB7-E4F592E4DCE0}"/>
          </ac:spMkLst>
        </pc:spChg>
        <pc:spChg chg="mod ord">
          <ac:chgData name="Miranda, Pedro" userId="3b7524d8-3f23-4d54-aa60-db1510a18686" providerId="ADAL" clId="{5C1B55F9-F878-46B7-8E1F-9E90ADBA15C8}" dt="2025-11-07T09:52:33.407" v="1234"/>
          <ac:spMkLst>
            <pc:docMk/>
            <pc:sldMk cId="1235879564" sldId="321"/>
            <ac:spMk id="102" creationId="{90C8AF75-EDA3-D085-A269-4E3D146B520D}"/>
          </ac:spMkLst>
        </pc:spChg>
        <pc:spChg chg="mod ord">
          <ac:chgData name="Miranda, Pedro" userId="3b7524d8-3f23-4d54-aa60-db1510a18686" providerId="ADAL" clId="{5C1B55F9-F878-46B7-8E1F-9E90ADBA15C8}" dt="2025-11-07T09:52:33.407" v="1232"/>
          <ac:spMkLst>
            <pc:docMk/>
            <pc:sldMk cId="1235879564" sldId="321"/>
            <ac:spMk id="104" creationId="{27A2F729-BB0A-08ED-10C0-3943766BC5F7}"/>
          </ac:spMkLst>
        </pc:spChg>
        <pc:graphicFrameChg chg="mod">
          <ac:chgData name="Miranda, Pedro" userId="3b7524d8-3f23-4d54-aa60-db1510a18686" providerId="ADAL" clId="{5C1B55F9-F878-46B7-8E1F-9E90ADBA15C8}" dt="2025-11-07T09:54:36.356" v="1442"/>
          <ac:graphicFrameMkLst>
            <pc:docMk/>
            <pc:sldMk cId="1235879564" sldId="321"/>
            <ac:graphicFrameMk id="9" creationId="{573B2586-149C-15C0-18C1-F22BBD649ADC}"/>
          </ac:graphicFrameMkLst>
        </pc:graphicFrameChg>
        <pc:graphicFrameChg chg="mod ord modGraphic">
          <ac:chgData name="Miranda, Pedro" userId="3b7524d8-3f23-4d54-aa60-db1510a18686" providerId="ADAL" clId="{5C1B55F9-F878-46B7-8E1F-9E90ADBA15C8}" dt="2025-11-07T09:54:18.236" v="1400" actId="1035"/>
          <ac:graphicFrameMkLst>
            <pc:docMk/>
            <pc:sldMk cId="1235879564" sldId="321"/>
            <ac:graphicFrameMk id="47" creationId="{650823FB-85C7-5833-6A08-DE3186C43276}"/>
          </ac:graphicFrameMkLst>
        </pc:graphicFrameChg>
        <pc:picChg chg="mod ord">
          <ac:chgData name="Miranda, Pedro" userId="3b7524d8-3f23-4d54-aa60-db1510a18686" providerId="ADAL" clId="{5C1B55F9-F878-46B7-8E1F-9E90ADBA15C8}" dt="2025-11-07T09:52:33.424" v="1258"/>
          <ac:picMkLst>
            <pc:docMk/>
            <pc:sldMk cId="1235879564" sldId="321"/>
            <ac:picMk id="23" creationId="{3231AC79-01CA-2ADF-4304-3830FD5A3FC9}"/>
          </ac:picMkLst>
        </pc:picChg>
        <pc:picChg chg="mod ord">
          <ac:chgData name="Miranda, Pedro" userId="3b7524d8-3f23-4d54-aa60-db1510a18686" providerId="ADAL" clId="{5C1B55F9-F878-46B7-8E1F-9E90ADBA15C8}" dt="2025-11-07T09:52:33.424" v="1260"/>
          <ac:picMkLst>
            <pc:docMk/>
            <pc:sldMk cId="1235879564" sldId="321"/>
            <ac:picMk id="24" creationId="{8634A9BF-7C04-35FB-993F-49B0DB772326}"/>
          </ac:picMkLst>
        </pc:picChg>
        <pc:picChg chg="mod ord">
          <ac:chgData name="Miranda, Pedro" userId="3b7524d8-3f23-4d54-aa60-db1510a18686" providerId="ADAL" clId="{5C1B55F9-F878-46B7-8E1F-9E90ADBA15C8}" dt="2025-11-07T09:52:33.424" v="1274"/>
          <ac:picMkLst>
            <pc:docMk/>
            <pc:sldMk cId="1235879564" sldId="321"/>
            <ac:picMk id="33" creationId="{4BA3C904-6859-64DB-30D3-D2892F0759AA}"/>
          </ac:picMkLst>
        </pc:picChg>
        <pc:picChg chg="mod ord">
          <ac:chgData name="Miranda, Pedro" userId="3b7524d8-3f23-4d54-aa60-db1510a18686" providerId="ADAL" clId="{5C1B55F9-F878-46B7-8E1F-9E90ADBA15C8}" dt="2025-11-07T09:52:33.424" v="1276"/>
          <ac:picMkLst>
            <pc:docMk/>
            <pc:sldMk cId="1235879564" sldId="321"/>
            <ac:picMk id="34" creationId="{7CD75574-19F4-1714-EDAC-68E2C31BB23F}"/>
          </ac:picMkLst>
        </pc:picChg>
        <pc:picChg chg="mod ord">
          <ac:chgData name="Miranda, Pedro" userId="3b7524d8-3f23-4d54-aa60-db1510a18686" providerId="ADAL" clId="{5C1B55F9-F878-46B7-8E1F-9E90ADBA15C8}" dt="2025-11-07T09:52:33.424" v="1282"/>
          <ac:picMkLst>
            <pc:docMk/>
            <pc:sldMk cId="1235879564" sldId="321"/>
            <ac:picMk id="38" creationId="{F0158C2A-5471-6D3F-764E-3E6B0EDF1A6F}"/>
          </ac:picMkLst>
        </pc:picChg>
        <pc:cxnChg chg="mod ord">
          <ac:chgData name="Miranda, Pedro" userId="3b7524d8-3f23-4d54-aa60-db1510a18686" providerId="ADAL" clId="{5C1B55F9-F878-46B7-8E1F-9E90ADBA15C8}" dt="2025-11-07T09:52:33.407" v="1236"/>
          <ac:cxnSpMkLst>
            <pc:docMk/>
            <pc:sldMk cId="1235879564" sldId="321"/>
            <ac:cxnSpMk id="103" creationId="{4A2E3F67-6AE5-EB68-655D-EEA3D7AF0A87}"/>
          </ac:cxnSpMkLst>
        </pc:cxnChg>
      </pc:sldChg>
      <pc:sldChg chg="addSp delSp modSp mod">
        <pc:chgData name="Miranda, Pedro" userId="3b7524d8-3f23-4d54-aa60-db1510a18686" providerId="ADAL" clId="{5C1B55F9-F878-46B7-8E1F-9E90ADBA15C8}" dt="2025-11-07T10:03:42.849" v="2619" actId="207"/>
        <pc:sldMkLst>
          <pc:docMk/>
          <pc:sldMk cId="3990471845" sldId="323"/>
        </pc:sldMkLst>
        <pc:spChg chg="add del mod modVis">
          <ac:chgData name="Miranda, Pedro" userId="3b7524d8-3f23-4d54-aa60-db1510a18686" providerId="ADAL" clId="{5C1B55F9-F878-46B7-8E1F-9E90ADBA15C8}" dt="2025-11-07T09:55:31.713" v="1720" actId="962"/>
          <ac:spMkLst>
            <pc:docMk/>
            <pc:sldMk cId="3990471845" sldId="323"/>
            <ac:spMk id="2" creationId="{B5FAAD49-BA95-EA59-2BDF-C19D7DD2E8BF}"/>
          </ac:spMkLst>
        </pc:spChg>
        <pc:spChg chg="add del mod modVis">
          <ac:chgData name="Miranda, Pedro" userId="3b7524d8-3f23-4d54-aa60-db1510a18686" providerId="ADAL" clId="{5C1B55F9-F878-46B7-8E1F-9E90ADBA15C8}" dt="2025-11-07T09:55:30.157" v="1694" actId="962"/>
          <ac:spMkLst>
            <pc:docMk/>
            <pc:sldMk cId="3990471845" sldId="323"/>
            <ac:spMk id="3" creationId="{11660FA8-23D5-FDCB-5433-791F9EAB6CB2}"/>
          </ac:spMkLst>
        </pc:spChg>
        <pc:spChg chg="add del mod modVis">
          <ac:chgData name="Miranda, Pedro" userId="3b7524d8-3f23-4d54-aa60-db1510a18686" providerId="ADAL" clId="{5C1B55F9-F878-46B7-8E1F-9E90ADBA15C8}" dt="2025-11-07T09:55:29.592" v="1668" actId="962"/>
          <ac:spMkLst>
            <pc:docMk/>
            <pc:sldMk cId="3990471845" sldId="323"/>
            <ac:spMk id="4" creationId="{CA499530-FDC4-D9A2-ED84-A7451D76DDCD}"/>
          </ac:spMkLst>
        </pc:spChg>
        <pc:spChg chg="add del mod modVis">
          <ac:chgData name="Miranda, Pedro" userId="3b7524d8-3f23-4d54-aa60-db1510a18686" providerId="ADAL" clId="{5C1B55F9-F878-46B7-8E1F-9E90ADBA15C8}" dt="2025-11-07T09:55:28.878" v="1642" actId="962"/>
          <ac:spMkLst>
            <pc:docMk/>
            <pc:sldMk cId="3990471845" sldId="323"/>
            <ac:spMk id="5" creationId="{3576005C-D164-671C-0C84-05D6495B091F}"/>
          </ac:spMkLst>
        </pc:spChg>
        <pc:spChg chg="add del mod modVis">
          <ac:chgData name="Miranda, Pedro" userId="3b7524d8-3f23-4d54-aa60-db1510a18686" providerId="ADAL" clId="{5C1B55F9-F878-46B7-8E1F-9E90ADBA15C8}" dt="2025-11-07T09:55:34.682" v="1764"/>
          <ac:spMkLst>
            <pc:docMk/>
            <pc:sldMk cId="3990471845" sldId="323"/>
            <ac:spMk id="6" creationId="{BF1A694D-A150-D065-5B90-FDB93795A744}"/>
          </ac:spMkLst>
        </pc:spChg>
        <pc:spChg chg="add del mod modVis">
          <ac:chgData name="Miranda, Pedro" userId="3b7524d8-3f23-4d54-aa60-db1510a18686" providerId="ADAL" clId="{5C1B55F9-F878-46B7-8E1F-9E90ADBA15C8}" dt="2025-11-07T09:55:40.328" v="1833"/>
          <ac:spMkLst>
            <pc:docMk/>
            <pc:sldMk cId="3990471845" sldId="323"/>
            <ac:spMk id="11" creationId="{3F99B951-3867-E188-8080-78A9A560740E}"/>
          </ac:spMkLst>
        </pc:spChg>
        <pc:spChg chg="mod">
          <ac:chgData name="Miranda, Pedro" userId="3b7524d8-3f23-4d54-aa60-db1510a18686" providerId="ADAL" clId="{5C1B55F9-F878-46B7-8E1F-9E90ADBA15C8}" dt="2025-11-07T10:03:42.849" v="2619" actId="207"/>
          <ac:spMkLst>
            <pc:docMk/>
            <pc:sldMk cId="3990471845" sldId="323"/>
            <ac:spMk id="14" creationId="{0304881C-8AC6-F5F6-8F7D-B509F80A4437}"/>
          </ac:spMkLst>
        </pc:spChg>
        <pc:spChg chg="mod">
          <ac:chgData name="Miranda, Pedro" userId="3b7524d8-3f23-4d54-aa60-db1510a18686" providerId="ADAL" clId="{5C1B55F9-F878-46B7-8E1F-9E90ADBA15C8}" dt="2025-11-07T10:01:16.005" v="2556" actId="207"/>
          <ac:spMkLst>
            <pc:docMk/>
            <pc:sldMk cId="3990471845" sldId="323"/>
            <ac:spMk id="15" creationId="{960DDEFA-D5CA-C705-1AD6-385E5F7BAD4C}"/>
          </ac:spMkLst>
        </pc:spChg>
        <pc:spChg chg="add del mod modVis">
          <ac:chgData name="Miranda, Pedro" userId="3b7524d8-3f23-4d54-aa60-db1510a18686" providerId="ADAL" clId="{5C1B55F9-F878-46B7-8E1F-9E90ADBA15C8}" dt="2025-11-07T09:55:41.535" v="1870"/>
          <ac:spMkLst>
            <pc:docMk/>
            <pc:sldMk cId="3990471845" sldId="323"/>
            <ac:spMk id="16" creationId="{C3A31B8A-CC22-EC3B-19F0-252E94FFC680}"/>
          </ac:spMkLst>
        </pc:spChg>
        <pc:spChg chg="mod">
          <ac:chgData name="Miranda, Pedro" userId="3b7524d8-3f23-4d54-aa60-db1510a18686" providerId="ADAL" clId="{5C1B55F9-F878-46B7-8E1F-9E90ADBA15C8}" dt="2025-11-07T10:02:14.561" v="2605" actId="20577"/>
          <ac:spMkLst>
            <pc:docMk/>
            <pc:sldMk cId="3990471845" sldId="323"/>
            <ac:spMk id="17" creationId="{07A30C05-C110-92F3-425F-E5DDFCE0CBE2}"/>
          </ac:spMkLst>
        </pc:spChg>
        <pc:spChg chg="mod">
          <ac:chgData name="Miranda, Pedro" userId="3b7524d8-3f23-4d54-aa60-db1510a18686" providerId="ADAL" clId="{5C1B55F9-F878-46B7-8E1F-9E90ADBA15C8}" dt="2025-11-07T10:03:14.210" v="2617" actId="20577"/>
          <ac:spMkLst>
            <pc:docMk/>
            <pc:sldMk cId="3990471845" sldId="323"/>
            <ac:spMk id="18" creationId="{6081B309-DF3D-356E-CCEF-8B66A772AABB}"/>
          </ac:spMkLst>
        </pc:spChg>
        <pc:spChg chg="add del mod modVis">
          <ac:chgData name="Miranda, Pedro" userId="3b7524d8-3f23-4d54-aa60-db1510a18686" providerId="ADAL" clId="{5C1B55F9-F878-46B7-8E1F-9E90ADBA15C8}" dt="2025-11-07T09:55:44.174" v="1917"/>
          <ac:spMkLst>
            <pc:docMk/>
            <pc:sldMk cId="3990471845" sldId="323"/>
            <ac:spMk id="24" creationId="{855F11B7-5AB7-C057-5462-E950EFA64274}"/>
          </ac:spMkLst>
        </pc:spChg>
        <pc:spChg chg="add del mod modVis">
          <ac:chgData name="Miranda, Pedro" userId="3b7524d8-3f23-4d54-aa60-db1510a18686" providerId="ADAL" clId="{5C1B55F9-F878-46B7-8E1F-9E90ADBA15C8}" dt="2025-11-07T09:55:45.118" v="1953"/>
          <ac:spMkLst>
            <pc:docMk/>
            <pc:sldMk cId="3990471845" sldId="323"/>
            <ac:spMk id="25" creationId="{7C727F0D-9CE0-0F38-EBEB-6E63CDB1244D}"/>
          </ac:spMkLst>
        </pc:spChg>
        <pc:spChg chg="add del mod modVis">
          <ac:chgData name="Miranda, Pedro" userId="3b7524d8-3f23-4d54-aa60-db1510a18686" providerId="ADAL" clId="{5C1B55F9-F878-46B7-8E1F-9E90ADBA15C8}" dt="2025-11-07T09:55:47.272" v="1994"/>
          <ac:spMkLst>
            <pc:docMk/>
            <pc:sldMk cId="3990471845" sldId="323"/>
            <ac:spMk id="26" creationId="{F38DD5A0-7642-BBE0-31F8-3F2785C914F6}"/>
          </ac:spMkLst>
        </pc:spChg>
        <pc:spChg chg="mod">
          <ac:chgData name="Miranda, Pedro" userId="3b7524d8-3f23-4d54-aa60-db1510a18686" providerId="ADAL" clId="{5C1B55F9-F878-46B7-8E1F-9E90ADBA15C8}" dt="2025-11-07T09:56:35.032" v="2165" actId="948"/>
          <ac:spMkLst>
            <pc:docMk/>
            <pc:sldMk cId="3990471845" sldId="323"/>
            <ac:spMk id="27" creationId="{553C17A5-C669-C55A-BE30-8332C5EB30DD}"/>
          </ac:spMkLst>
        </pc:spChg>
        <pc:spChg chg="add del mod modVis">
          <ac:chgData name="Miranda, Pedro" userId="3b7524d8-3f23-4d54-aa60-db1510a18686" providerId="ADAL" clId="{5C1B55F9-F878-46B7-8E1F-9E90ADBA15C8}" dt="2025-11-07T09:55:48.686" v="2033"/>
          <ac:spMkLst>
            <pc:docMk/>
            <pc:sldMk cId="3990471845" sldId="323"/>
            <ac:spMk id="28" creationId="{FD76081C-0DD7-5EAF-8B3B-DDF855D09BA0}"/>
          </ac:spMkLst>
        </pc:spChg>
        <pc:spChg chg="add del mod modVis">
          <ac:chgData name="Miranda, Pedro" userId="3b7524d8-3f23-4d54-aa60-db1510a18686" providerId="ADAL" clId="{5C1B55F9-F878-46B7-8E1F-9E90ADBA15C8}" dt="2025-11-07T09:55:50.902" v="2076"/>
          <ac:spMkLst>
            <pc:docMk/>
            <pc:sldMk cId="3990471845" sldId="323"/>
            <ac:spMk id="29" creationId="{7B54D073-472D-CF9A-ACFB-4D1CC5EBC7CF}"/>
          </ac:spMkLst>
        </pc:spChg>
        <pc:spChg chg="add del mod modVis">
          <ac:chgData name="Miranda, Pedro" userId="3b7524d8-3f23-4d54-aa60-db1510a18686" providerId="ADAL" clId="{5C1B55F9-F878-46B7-8E1F-9E90ADBA15C8}" dt="2025-11-07T09:56:12.081" v="2125"/>
          <ac:spMkLst>
            <pc:docMk/>
            <pc:sldMk cId="3990471845" sldId="323"/>
            <ac:spMk id="30" creationId="{C6D1D4D2-7E6E-BA2B-AA18-7C30F27441A7}"/>
          </ac:spMkLst>
        </pc:spChg>
        <pc:spChg chg="add del mod modVis">
          <ac:chgData name="Miranda, Pedro" userId="3b7524d8-3f23-4d54-aa60-db1510a18686" providerId="ADAL" clId="{5C1B55F9-F878-46B7-8E1F-9E90ADBA15C8}" dt="2025-11-07T09:56:30.284" v="2158"/>
          <ac:spMkLst>
            <pc:docMk/>
            <pc:sldMk cId="3990471845" sldId="323"/>
            <ac:spMk id="31" creationId="{7ED16BFE-5BCB-DF9B-51F9-ECC2E0798F16}"/>
          </ac:spMkLst>
        </pc:spChg>
        <pc:spChg chg="add del mod modVis">
          <ac:chgData name="Miranda, Pedro" userId="3b7524d8-3f23-4d54-aa60-db1510a18686" providerId="ADAL" clId="{5C1B55F9-F878-46B7-8E1F-9E90ADBA15C8}" dt="2025-11-07T09:56:35.099" v="2194"/>
          <ac:spMkLst>
            <pc:docMk/>
            <pc:sldMk cId="3990471845" sldId="323"/>
            <ac:spMk id="32" creationId="{CA75BFDE-5DFC-4664-9D34-078C0B2CE83C}"/>
          </ac:spMkLst>
        </pc:spChg>
        <pc:graphicFrameChg chg="mod">
          <ac:chgData name="Miranda, Pedro" userId="3b7524d8-3f23-4d54-aa60-db1510a18686" providerId="ADAL" clId="{5C1B55F9-F878-46B7-8E1F-9E90ADBA15C8}" dt="2025-11-07T09:56:35.099" v="2196"/>
          <ac:graphicFrameMkLst>
            <pc:docMk/>
            <pc:sldMk cId="3990471845" sldId="323"/>
            <ac:graphicFrameMk id="7" creationId="{59D78B7F-EFAE-C969-7CFE-228D2A85CC51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792255" cy="592601"/>
          </a:xfrm>
          <a:prstGeom prst="rect">
            <a:avLst/>
          </a:prstGeom>
        </p:spPr>
        <p:txBody>
          <a:bodyPr vert="horz" lIns="92080" tIns="46040" rIns="92080" bIns="4604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49919" y="2"/>
            <a:ext cx="2792255" cy="592601"/>
          </a:xfrm>
          <a:prstGeom prst="rect">
            <a:avLst/>
          </a:prstGeom>
        </p:spPr>
        <p:txBody>
          <a:bodyPr vert="horz" lIns="92080" tIns="46040" rIns="92080" bIns="46040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pt-BR" smtClean="0"/>
              <a:t>07/11/2025</a:t>
            </a:fld>
            <a:endParaRPr lang="pt-B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11218400"/>
            <a:ext cx="2792255" cy="592600"/>
          </a:xfrm>
          <a:prstGeom prst="rect">
            <a:avLst/>
          </a:prstGeom>
        </p:spPr>
        <p:txBody>
          <a:bodyPr vert="horz" lIns="92080" tIns="46040" rIns="92080" bIns="4604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49919" y="11218400"/>
            <a:ext cx="2792255" cy="592600"/>
          </a:xfrm>
          <a:prstGeom prst="rect">
            <a:avLst/>
          </a:prstGeom>
        </p:spPr>
        <p:txBody>
          <a:bodyPr vert="horz" lIns="92080" tIns="46040" rIns="92080" bIns="46040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792255" cy="592601"/>
          </a:xfrm>
          <a:prstGeom prst="rect">
            <a:avLst/>
          </a:prstGeom>
        </p:spPr>
        <p:txBody>
          <a:bodyPr vert="horz" lIns="92080" tIns="46040" rIns="92080" bIns="46040" rtlCol="0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649919" y="2"/>
            <a:ext cx="2792255" cy="592601"/>
          </a:xfrm>
          <a:prstGeom prst="rect">
            <a:avLst/>
          </a:prstGeom>
        </p:spPr>
        <p:txBody>
          <a:bodyPr vert="horz" lIns="92080" tIns="46040" rIns="92080" bIns="46040" rtlCol="0"/>
          <a:lstStyle>
            <a:lvl1pPr algn="r" rtl="0">
              <a:defRPr sz="1200"/>
            </a:lvl1pPr>
          </a:lstStyle>
          <a:p>
            <a:fld id="{3A8927E5-BED3-44D0-9ADF-FA873E1D6DAF}" type="datetimeFigureOut">
              <a:rPr lang="pt-BR" smtClean="0"/>
              <a:pPr/>
              <a:t>07/11/2025</a:t>
            </a:fld>
            <a:endParaRPr lang="pt-B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320675" y="1477963"/>
            <a:ext cx="7085013" cy="3986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80" tIns="46040" rIns="92080" bIns="4604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44367" y="5684046"/>
            <a:ext cx="5154930" cy="4650581"/>
          </a:xfrm>
          <a:prstGeom prst="rect">
            <a:avLst/>
          </a:prstGeom>
        </p:spPr>
        <p:txBody>
          <a:bodyPr vert="horz" lIns="92080" tIns="46040" rIns="92080" bIns="46040" rtlCol="0"/>
          <a:lstStyle/>
          <a:p>
            <a:pPr lvl="0"/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11218400"/>
            <a:ext cx="2792255" cy="592600"/>
          </a:xfrm>
          <a:prstGeom prst="rect">
            <a:avLst/>
          </a:prstGeom>
        </p:spPr>
        <p:txBody>
          <a:bodyPr vert="horz" lIns="92080" tIns="46040" rIns="92080" bIns="46040" rtlCol="0" anchor="b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649919" y="11218400"/>
            <a:ext cx="2792255" cy="592600"/>
          </a:xfrm>
          <a:prstGeom prst="rect">
            <a:avLst/>
          </a:prstGeom>
        </p:spPr>
        <p:txBody>
          <a:bodyPr vert="horz" lIns="92080" tIns="46040" rIns="92080" bIns="46040" rtlCol="0" anchor="b"/>
          <a:lstStyle>
            <a:lvl1pPr algn="r" rtl="0">
              <a:defRPr sz="1200"/>
            </a:lvl1pPr>
          </a:lstStyle>
          <a:p>
            <a:fld id="{7324DA73-AE27-4433-BD53-3E1DB61918F0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08303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40100A-A22C-EE4D-1334-13AA654377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A97183-98BE-262F-2B0E-552C5965EA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4739C4B-2395-50AC-28E5-E91C031BE9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1F33D8-A31F-C7E1-460B-D88063BFAC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461398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18CB4D-EB78-D7C2-9B07-DE5A231F6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E78787-4736-C8BE-626A-22B13535C5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EA0E52-6009-D5B4-B250-01B8463A95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23422E-D3A3-0224-C593-671A574E3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446702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193656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4BCEDA-5583-72A0-0EF1-5D0CB6835E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495ABC-F3D9-126F-06BC-875727DE4F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3BFDBD-B643-4C7C-7CE5-80C258A823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70CFA6-6FBD-3239-DC7E-DABC02A92F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44484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6C640D-48EA-B562-1D26-D7C43359F3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04262E-BCB9-FA1A-C366-A42F01765E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6654EA-2C8D-ABF2-84B0-0F4F015836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0D2F4-74D6-4A57-B53B-4FD47DD2DC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pt-BR" smtClean="0"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73820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0379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5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3.emf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9E4032B-FA5F-4D1C-B455-832299B361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67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9E4032B-FA5F-4D1C-B455-832299B36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oogle Shape;79;p3" descr="Logo, icon&#10;&#10;Description automatically generated with medium confidence">
            <a:extLst>
              <a:ext uri="{FF2B5EF4-FFF2-40B4-BE49-F238E27FC236}">
                <a16:creationId xmlns:a16="http://schemas.microsoft.com/office/drawing/2014/main" id="{3FEED632-C058-4486-B535-8FAB4C389567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30609" t="113" r="6773"/>
          <a:stretch/>
        </p:blipFill>
        <p:spPr>
          <a:xfrm>
            <a:off x="-11724" y="0"/>
            <a:ext cx="7655885" cy="68697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AB111D1-9E05-42A5-BD1E-397C4F6817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5575" y="6092726"/>
            <a:ext cx="3425570" cy="33408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926C25-ED7D-41A4-9E42-AEED060CC09D}"/>
              </a:ext>
            </a:extLst>
          </p:cNvPr>
          <p:cNvCxnSpPr>
            <a:cxnSpLocks/>
          </p:cNvCxnSpPr>
          <p:nvPr userDrawn="1"/>
        </p:nvCxnSpPr>
        <p:spPr>
          <a:xfrm>
            <a:off x="6423948" y="4458241"/>
            <a:ext cx="900000" cy="0"/>
          </a:xfrm>
          <a:prstGeom prst="line">
            <a:avLst/>
          </a:prstGeom>
          <a:ln w="28575">
            <a:solidFill>
              <a:srgbClr val="4AC1E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6435411" y="3429000"/>
            <a:ext cx="5299390" cy="433324"/>
          </a:xfrm>
        </p:spPr>
        <p:txBody>
          <a:bodyPr wrap="square" lIns="0" tIns="0" rIns="0" bIns="0" anchor="b">
            <a:spAutoFit/>
          </a:bodyPr>
          <a:lstStyle>
            <a:lvl1pPr marL="0" indent="0" rtl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3" name="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6435410" y="3989467"/>
            <a:ext cx="5299390" cy="276999"/>
          </a:xfrm>
        </p:spPr>
        <p:txBody>
          <a:bodyPr wrap="square" lIns="0" tIns="0" rIns="0" bIns="0">
            <a:sp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Subtitle</a:t>
            </a:r>
            <a:endParaRPr lang="pt-BR" dirty="0"/>
          </a:p>
        </p:txBody>
      </p:sp>
      <p:sp>
        <p:nvSpPr>
          <p:cNvPr id="4" name="Presenter"/>
          <p:cNvSpPr>
            <a:spLocks noGrp="1"/>
          </p:cNvSpPr>
          <p:nvPr>
            <p:ph type="body" sz="quarter" idx="13" hasCustomPrompt="1"/>
          </p:nvPr>
        </p:nvSpPr>
        <p:spPr>
          <a:xfrm>
            <a:off x="6435410" y="4569250"/>
            <a:ext cx="4730336" cy="184666"/>
          </a:xfrm>
        </p:spPr>
        <p:txBody>
          <a:bodyPr wrap="square" lIns="0" tIns="0" rIns="0" bIns="0" anchor="b">
            <a:spAutoFit/>
          </a:bodyPr>
          <a:lstStyle>
            <a:lvl1pPr marL="0" indent="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8551529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EB01E81-73F6-4D6F-A171-2B13BE7F8C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80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EB01E81-73F6-4D6F-A171-2B13BE7F8C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457200" y="1399032"/>
            <a:ext cx="5410200" cy="5001768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24600" y="1399032"/>
            <a:ext cx="5410199" cy="5001768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7" name="Slide Number Placeholder 20">
            <a:extLst>
              <a:ext uri="{FF2B5EF4-FFF2-40B4-BE49-F238E27FC236}">
                <a16:creationId xmlns:a16="http://schemas.microsoft.com/office/drawing/2014/main" id="{7609436C-FFE3-48E4-9078-105204762E08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A07245-951A-4AD9-9503-A8FC874C96D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974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696">
          <p15:clr>
            <a:srgbClr val="FBAE40"/>
          </p15:clr>
        </p15:guide>
        <p15:guide id="5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D3075E-C36B-43C0-A58D-4248A64B3F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436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D3075E-C36B-43C0-A58D-4248A64B3F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4102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24600" y="1399032"/>
            <a:ext cx="5410199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7" name="Slide Number Placeholder 20">
            <a:extLst>
              <a:ext uri="{FF2B5EF4-FFF2-40B4-BE49-F238E27FC236}">
                <a16:creationId xmlns:a16="http://schemas.microsoft.com/office/drawing/2014/main" id="{36238A5F-16BD-4BE0-A1DF-19521C969885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E04E83-E59E-4EC8-A514-1BD4CE1647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435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3696">
          <p15:clr>
            <a:srgbClr val="FBAE40"/>
          </p15:clr>
        </p15:guide>
        <p15:guide id="7" pos="3984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111054-F486-4475-B6E5-E53682D65C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525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B111054-F486-4475-B6E5-E53682D65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4102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54102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24600" y="1399032"/>
            <a:ext cx="54102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24600" y="1883664"/>
            <a:ext cx="54102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9" name="Slide Number Placeholder 20">
            <a:extLst>
              <a:ext uri="{FF2B5EF4-FFF2-40B4-BE49-F238E27FC236}">
                <a16:creationId xmlns:a16="http://schemas.microsoft.com/office/drawing/2014/main" id="{36B752F9-A23F-46E7-AE55-55EB28D97647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1BDBE7F-AC9C-465B-9F0D-4D639C0F3BF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981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3696">
          <p15:clr>
            <a:srgbClr val="FBAE40"/>
          </p15:clr>
        </p15:guide>
        <p15:guide id="7" pos="3984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28A135-A52A-4FBA-B5FF-826CB27522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6564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28A135-A52A-4FBA-B5FF-826CB27522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12776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457200" y="1883664"/>
            <a:ext cx="11277600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457200" y="4005072"/>
            <a:ext cx="112776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457200" y="4489704"/>
            <a:ext cx="11277600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9" name="Slide Number Placeholder 20">
            <a:extLst>
              <a:ext uri="{FF2B5EF4-FFF2-40B4-BE49-F238E27FC236}">
                <a16:creationId xmlns:a16="http://schemas.microsoft.com/office/drawing/2014/main" id="{F5EDCFE9-D746-42C2-86EA-B3941980CF02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7736B63-91D5-41C8-B136-D150176FB6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867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523">
          <p15:clr>
            <a:srgbClr val="FBAE40"/>
          </p15:clr>
        </p15:guide>
        <p15:guide id="5" orient="horz" pos="880">
          <p15:clr>
            <a:srgbClr val="FBAE40"/>
          </p15:clr>
        </p15:guide>
        <p15:guide id="6" orient="horz" pos="2832">
          <p15:clr>
            <a:srgbClr val="FBAE40"/>
          </p15:clr>
        </p15:guide>
        <p15:guide id="8" orient="horz" pos="11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EABF0D6-4926-4369-8C26-12EB953E1E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583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EABF0D6-4926-4369-8C26-12EB953E1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34544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368799" y="1399032"/>
            <a:ext cx="73660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368799" y="1883664"/>
            <a:ext cx="73660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9" name="Slide Number Placeholder 20">
            <a:extLst>
              <a:ext uri="{FF2B5EF4-FFF2-40B4-BE49-F238E27FC236}">
                <a16:creationId xmlns:a16="http://schemas.microsoft.com/office/drawing/2014/main" id="{230A4E0C-87D1-4BAB-8CF0-5FD23C481C51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29661F-6C50-4DF1-92FF-AADB82DD50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0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2464">
          <p15:clr>
            <a:srgbClr val="FBAE40"/>
          </p15:clr>
        </p15:guide>
        <p15:guide id="7" pos="2752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CBC9B1-26C5-46BE-AFF6-70AD66225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212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CBC9B1-26C5-46BE-AFF6-70AD66225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199" y="1399032"/>
            <a:ext cx="73660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199" y="1883664"/>
            <a:ext cx="73660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8280400" y="1883664"/>
            <a:ext cx="34544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9" name="Slide Number Placeholder 20">
            <a:extLst>
              <a:ext uri="{FF2B5EF4-FFF2-40B4-BE49-F238E27FC236}">
                <a16:creationId xmlns:a16="http://schemas.microsoft.com/office/drawing/2014/main" id="{D6522FCF-112E-4963-B0EF-D1957F5DA2B5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4136CC-13FF-4445-A526-E929C5ABEE1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9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4928">
          <p15:clr>
            <a:srgbClr val="FBAE40"/>
          </p15:clr>
        </p15:guide>
        <p15:guide id="7" pos="5216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9D5A50A-6F33-445C-8113-F7812E73B5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310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9D5A50A-6F33-445C-8113-F7812E73B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399032"/>
            <a:ext cx="3454400" cy="5001768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368799" y="1399032"/>
            <a:ext cx="3454400" cy="5001768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280400" y="1399032"/>
            <a:ext cx="3454400" cy="5001768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9" name="Slide Number Placeholder 20">
            <a:extLst>
              <a:ext uri="{FF2B5EF4-FFF2-40B4-BE49-F238E27FC236}">
                <a16:creationId xmlns:a16="http://schemas.microsoft.com/office/drawing/2014/main" id="{AC8613EB-EEDE-4547-98A4-9C4D1C4824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900">
                <a:solidFill>
                  <a:schemeClr val="tx1"/>
                </a:solidFill>
              </a:defRPr>
            </a:lvl1pPr>
          </a:lstStyle>
          <a:p>
            <a:fld id="{6F90B37E-B634-4296-A451-A576B1C492FB}" type="slidenum">
              <a:rPr lang="pt-BR" smtClean="0"/>
              <a:pPr/>
              <a:t>‹#›</a:t>
            </a:fld>
            <a:endParaRPr lang="pt-B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E624222-F22E-4727-AA38-1350B5CD83B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66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5216">
          <p15:clr>
            <a:srgbClr val="FBAE40"/>
          </p15:clr>
        </p15:guide>
        <p15:guide id="4" pos="2752">
          <p15:clr>
            <a:srgbClr val="FBAE40"/>
          </p15:clr>
        </p15:guide>
        <p15:guide id="5" pos="4928">
          <p15:clr>
            <a:srgbClr val="FBAE40"/>
          </p15:clr>
        </p15:guide>
        <p15:guide id="6" pos="246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23328D1-1A12-4793-B419-8E8310430C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089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23328D1-1A12-4793-B419-8E8310430C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368800" y="1399032"/>
            <a:ext cx="3454399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8" name="Slide Number Placeholder 20">
            <a:extLst>
              <a:ext uri="{FF2B5EF4-FFF2-40B4-BE49-F238E27FC236}">
                <a16:creationId xmlns:a16="http://schemas.microsoft.com/office/drawing/2014/main" id="{770BAA24-80A9-4485-AD5B-E70AB79181F4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1A2845-B625-485E-88AB-7C0D97225B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610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880">
          <p15:clr>
            <a:srgbClr val="FBAE40"/>
          </p15:clr>
        </p15:guide>
        <p15:guide id="8" pos="5216">
          <p15:clr>
            <a:srgbClr val="FBAE40"/>
          </p15:clr>
        </p15:guide>
        <p15:guide id="10" pos="2752">
          <p15:clr>
            <a:srgbClr val="FBAE40"/>
          </p15:clr>
        </p15:guide>
        <p15:guide id="11" pos="4928">
          <p15:clr>
            <a:srgbClr val="FBAE40"/>
          </p15:clr>
        </p15:guide>
        <p15:guide id="12" pos="2464">
          <p15:clr>
            <a:srgbClr val="FBAE40"/>
          </p15:clr>
        </p15:guide>
        <p15:guide id="14" orient="horz" pos="118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FE55FE-355A-4222-8F72-289146B5E0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1667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FE55FE-355A-4222-8F72-289146B5E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34544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368799" y="139903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368799" y="1883664"/>
            <a:ext cx="34544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280400" y="1883664"/>
            <a:ext cx="34544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11" name="Slide Number Placeholder 20">
            <a:extLst>
              <a:ext uri="{FF2B5EF4-FFF2-40B4-BE49-F238E27FC236}">
                <a16:creationId xmlns:a16="http://schemas.microsoft.com/office/drawing/2014/main" id="{CDC836D4-10A4-415E-B95E-13AC6601E3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900">
                <a:solidFill>
                  <a:schemeClr val="tx1"/>
                </a:solidFill>
              </a:defRPr>
            </a:lvl1pPr>
          </a:lstStyle>
          <a:p>
            <a:fld id="{6F90B37E-B634-4296-A451-A576B1C492FB}" type="slidenum">
              <a:rPr lang="pt-BR" smtClean="0"/>
              <a:pPr/>
              <a:t>‹#›</a:t>
            </a:fld>
            <a:endParaRPr lang="pt-BR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D0C8171-5F1F-4EC4-A81D-1A1524687F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784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880">
          <p15:clr>
            <a:srgbClr val="FBAE40"/>
          </p15:clr>
        </p15:guide>
        <p15:guide id="8" pos="2464">
          <p15:clr>
            <a:srgbClr val="FBAE40"/>
          </p15:clr>
        </p15:guide>
        <p15:guide id="9" pos="2752">
          <p15:clr>
            <a:srgbClr val="FBAE40"/>
          </p15:clr>
        </p15:guide>
        <p15:guide id="10" pos="4928">
          <p15:clr>
            <a:srgbClr val="FBAE40"/>
          </p15:clr>
        </p15:guide>
        <p15:guide id="11" pos="5216">
          <p15:clr>
            <a:srgbClr val="FBAE40"/>
          </p15:clr>
        </p15:guide>
        <p15:guide id="13" orient="horz" pos="118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AD9BAA-8EA5-4939-9C7B-7056746541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7471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AD9BAA-8EA5-4939-9C7B-705674654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199" y="1399032"/>
            <a:ext cx="24765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199" y="1883664"/>
            <a:ext cx="24765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5" name="Heading Middle Left"/>
          <p:cNvSpPr>
            <a:spLocks noGrp="1"/>
          </p:cNvSpPr>
          <p:nvPr>
            <p:ph type="body" idx="13" hasCustomPrompt="1"/>
          </p:nvPr>
        </p:nvSpPr>
        <p:spPr>
          <a:xfrm>
            <a:off x="3390900" y="1399032"/>
            <a:ext cx="24765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6" name="Content Middle Left"/>
          <p:cNvSpPr>
            <a:spLocks noGrp="1"/>
          </p:cNvSpPr>
          <p:nvPr>
            <p:ph sz="quarter" idx="12"/>
          </p:nvPr>
        </p:nvSpPr>
        <p:spPr>
          <a:xfrm>
            <a:off x="3390900" y="1883664"/>
            <a:ext cx="24765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7" name="Heading Middle Right"/>
          <p:cNvSpPr>
            <a:spLocks noGrp="1"/>
          </p:cNvSpPr>
          <p:nvPr>
            <p:ph type="body" idx="15" hasCustomPrompt="1"/>
          </p:nvPr>
        </p:nvSpPr>
        <p:spPr>
          <a:xfrm>
            <a:off x="6324600" y="1399032"/>
            <a:ext cx="24765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8" name="Content Middle Right"/>
          <p:cNvSpPr>
            <a:spLocks noGrp="1"/>
          </p:cNvSpPr>
          <p:nvPr>
            <p:ph sz="quarter" idx="14"/>
          </p:nvPr>
        </p:nvSpPr>
        <p:spPr>
          <a:xfrm>
            <a:off x="6324600" y="1883664"/>
            <a:ext cx="24765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9" name="Heading Right"/>
          <p:cNvSpPr>
            <a:spLocks noGrp="1"/>
          </p:cNvSpPr>
          <p:nvPr>
            <p:ph type="body" idx="17" hasCustomPrompt="1"/>
          </p:nvPr>
        </p:nvSpPr>
        <p:spPr>
          <a:xfrm>
            <a:off x="9258300" y="1399032"/>
            <a:ext cx="24765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10" name="Content Right"/>
          <p:cNvSpPr>
            <a:spLocks noGrp="1"/>
          </p:cNvSpPr>
          <p:nvPr>
            <p:ph sz="quarter" idx="16"/>
          </p:nvPr>
        </p:nvSpPr>
        <p:spPr>
          <a:xfrm>
            <a:off x="9258300" y="1883664"/>
            <a:ext cx="24765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13" name="Slide Number Placeholder 20">
            <a:extLst>
              <a:ext uri="{FF2B5EF4-FFF2-40B4-BE49-F238E27FC236}">
                <a16:creationId xmlns:a16="http://schemas.microsoft.com/office/drawing/2014/main" id="{B9BA93C9-486A-45FE-8120-2600A4E7480F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11FAD4D-BD6F-4050-B960-A2579616C3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349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10" pos="2136">
          <p15:clr>
            <a:srgbClr val="FBAE40"/>
          </p15:clr>
        </p15:guide>
        <p15:guide id="11" pos="3696">
          <p15:clr>
            <a:srgbClr val="FBAE40"/>
          </p15:clr>
        </p15:guide>
        <p15:guide id="12" pos="1848">
          <p15:clr>
            <a:srgbClr val="FBAE40"/>
          </p15:clr>
        </p15:guide>
        <p15:guide id="13" pos="3984">
          <p15:clr>
            <a:srgbClr val="FBAE40"/>
          </p15:clr>
        </p15:guide>
        <p15:guide id="14" pos="5544">
          <p15:clr>
            <a:srgbClr val="FBAE40"/>
          </p15:clr>
        </p15:guide>
        <p15:guide id="15" pos="5832">
          <p15:clr>
            <a:srgbClr val="FBAE40"/>
          </p15:clr>
        </p15:guide>
        <p15:guide id="17" orient="horz" pos="11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9E4032B-FA5F-4D1C-B455-832299B361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490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9E4032B-FA5F-4D1C-B455-832299B36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oogle Shape;63;p1" descr="Shape&#10;&#10;Description automatically generated with medium confidence">
            <a:extLst>
              <a:ext uri="{FF2B5EF4-FFF2-40B4-BE49-F238E27FC236}">
                <a16:creationId xmlns:a16="http://schemas.microsoft.com/office/drawing/2014/main" id="{A8A41E6E-AF46-4F5C-8185-51B5C48A09DF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30798" r="6586"/>
          <a:stretch/>
        </p:blipFill>
        <p:spPr>
          <a:xfrm>
            <a:off x="0" y="0"/>
            <a:ext cx="7634177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AB111D1-9E05-42A5-BD1E-397C4F6817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5575" y="6092726"/>
            <a:ext cx="3425570" cy="33408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926C25-ED7D-41A4-9E42-AEED060CC09D}"/>
              </a:ext>
            </a:extLst>
          </p:cNvPr>
          <p:cNvCxnSpPr>
            <a:cxnSpLocks/>
          </p:cNvCxnSpPr>
          <p:nvPr userDrawn="1"/>
        </p:nvCxnSpPr>
        <p:spPr>
          <a:xfrm>
            <a:off x="6423948" y="4458241"/>
            <a:ext cx="900000" cy="0"/>
          </a:xfrm>
          <a:prstGeom prst="line">
            <a:avLst/>
          </a:prstGeom>
          <a:ln w="28575">
            <a:solidFill>
              <a:srgbClr val="4AC1E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6435411" y="3429000"/>
            <a:ext cx="5299390" cy="433324"/>
          </a:xfrm>
        </p:spPr>
        <p:txBody>
          <a:bodyPr wrap="square" lIns="0" tIns="0" rIns="0" bIns="0" anchor="b">
            <a:spAutoFit/>
          </a:bodyPr>
          <a:lstStyle>
            <a:lvl1pPr marL="0" indent="0" rtl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3" name="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6435410" y="3989467"/>
            <a:ext cx="5299390" cy="276999"/>
          </a:xfrm>
        </p:spPr>
        <p:txBody>
          <a:bodyPr wrap="square" lIns="0" tIns="0" rIns="0" bIns="0">
            <a:sp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Subtitle</a:t>
            </a:r>
            <a:endParaRPr lang="pt-BR" dirty="0"/>
          </a:p>
        </p:txBody>
      </p:sp>
      <p:sp>
        <p:nvSpPr>
          <p:cNvPr id="4" name="Presenter"/>
          <p:cNvSpPr>
            <a:spLocks noGrp="1"/>
          </p:cNvSpPr>
          <p:nvPr>
            <p:ph type="body" sz="quarter" idx="13" hasCustomPrompt="1"/>
          </p:nvPr>
        </p:nvSpPr>
        <p:spPr>
          <a:xfrm>
            <a:off x="6435410" y="4569250"/>
            <a:ext cx="4730336" cy="184666"/>
          </a:xfrm>
        </p:spPr>
        <p:txBody>
          <a:bodyPr wrap="square" lIns="0" tIns="0" rIns="0" bIns="0" anchor="b">
            <a:spAutoFit/>
          </a:bodyPr>
          <a:lstStyle>
            <a:lvl1pPr marL="0" indent="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77365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6570563-EA88-4A90-A072-B25F07E5F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98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6570563-EA88-4A90-A072-B25F07E5F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8923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18923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5" name="Heading Middle Left"/>
          <p:cNvSpPr>
            <a:spLocks noGrp="1"/>
          </p:cNvSpPr>
          <p:nvPr>
            <p:ph type="body" idx="13" hasCustomPrompt="1"/>
          </p:nvPr>
        </p:nvSpPr>
        <p:spPr>
          <a:xfrm>
            <a:off x="2806700" y="1399032"/>
            <a:ext cx="18923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6" name="Content Middle Left"/>
          <p:cNvSpPr>
            <a:spLocks noGrp="1"/>
          </p:cNvSpPr>
          <p:nvPr>
            <p:ph sz="quarter" idx="12"/>
          </p:nvPr>
        </p:nvSpPr>
        <p:spPr>
          <a:xfrm>
            <a:off x="2806700" y="1883664"/>
            <a:ext cx="18923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7" name="Heading Middle"/>
          <p:cNvSpPr>
            <a:spLocks noGrp="1"/>
          </p:cNvSpPr>
          <p:nvPr>
            <p:ph type="body" idx="15" hasCustomPrompt="1"/>
          </p:nvPr>
        </p:nvSpPr>
        <p:spPr>
          <a:xfrm>
            <a:off x="5156200" y="1399032"/>
            <a:ext cx="18796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8" name="Content Middle"/>
          <p:cNvSpPr>
            <a:spLocks noGrp="1"/>
          </p:cNvSpPr>
          <p:nvPr>
            <p:ph sz="quarter" idx="14"/>
          </p:nvPr>
        </p:nvSpPr>
        <p:spPr>
          <a:xfrm>
            <a:off x="5156200" y="1883664"/>
            <a:ext cx="18796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9" name="Heading Middle Right"/>
          <p:cNvSpPr>
            <a:spLocks noGrp="1"/>
          </p:cNvSpPr>
          <p:nvPr>
            <p:ph type="body" idx="17" hasCustomPrompt="1"/>
          </p:nvPr>
        </p:nvSpPr>
        <p:spPr>
          <a:xfrm>
            <a:off x="7493000" y="1399032"/>
            <a:ext cx="18923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10" name="Content Middle Right"/>
          <p:cNvSpPr>
            <a:spLocks noGrp="1"/>
          </p:cNvSpPr>
          <p:nvPr>
            <p:ph sz="quarter" idx="16"/>
          </p:nvPr>
        </p:nvSpPr>
        <p:spPr>
          <a:xfrm>
            <a:off x="7493000" y="1883664"/>
            <a:ext cx="18923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20" name="Heading Right">
            <a:extLst>
              <a:ext uri="{FF2B5EF4-FFF2-40B4-BE49-F238E27FC236}">
                <a16:creationId xmlns:a16="http://schemas.microsoft.com/office/drawing/2014/main" id="{28D70AB5-46A8-4A97-AAB4-47C1BD4B837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842500" y="1399032"/>
            <a:ext cx="18923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21" name="Content Right">
            <a:extLst>
              <a:ext uri="{FF2B5EF4-FFF2-40B4-BE49-F238E27FC236}">
                <a16:creationId xmlns:a16="http://schemas.microsoft.com/office/drawing/2014/main" id="{8E85D35B-391E-43DD-85C1-F9607552878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842500" y="1883664"/>
            <a:ext cx="18923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15" name="Slide Number Placeholder 20">
            <a:extLst>
              <a:ext uri="{FF2B5EF4-FFF2-40B4-BE49-F238E27FC236}">
                <a16:creationId xmlns:a16="http://schemas.microsoft.com/office/drawing/2014/main" id="{0A231675-5680-4EA1-B986-7E58DA7A9BE2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65E764-F394-42B2-B921-FEACA38208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248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1480">
          <p15:clr>
            <a:srgbClr val="FBAE40"/>
          </p15:clr>
        </p15:guide>
        <p15:guide id="7" pos="1768">
          <p15:clr>
            <a:srgbClr val="FBAE40"/>
          </p15:clr>
        </p15:guide>
        <p15:guide id="8" pos="2960">
          <p15:clr>
            <a:srgbClr val="FBAE40"/>
          </p15:clr>
        </p15:guide>
        <p15:guide id="9" pos="3248">
          <p15:clr>
            <a:srgbClr val="FBAE40"/>
          </p15:clr>
        </p15:guide>
        <p15:guide id="10" pos="4432">
          <p15:clr>
            <a:srgbClr val="FBAE40"/>
          </p15:clr>
        </p15:guide>
        <p15:guide id="11" pos="4720">
          <p15:clr>
            <a:srgbClr val="FBAE40"/>
          </p15:clr>
        </p15:guide>
        <p15:guide id="12" pos="5912">
          <p15:clr>
            <a:srgbClr val="FBAE40"/>
          </p15:clr>
        </p15:guide>
        <p15:guide id="13" pos="6200">
          <p15:clr>
            <a:srgbClr val="FBAE40"/>
          </p15:clr>
        </p15:guide>
        <p15:guide id="15" orient="horz" pos="118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89C8673-187C-4692-A979-E02A4FA22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1679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89C8673-187C-4692-A979-E02A4FA22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4102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5410200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24600" y="1399032"/>
            <a:ext cx="5410199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6" name="Content Right Top"/>
          <p:cNvSpPr>
            <a:spLocks noGrp="1"/>
          </p:cNvSpPr>
          <p:nvPr>
            <p:ph sz="quarter" idx="12"/>
          </p:nvPr>
        </p:nvSpPr>
        <p:spPr>
          <a:xfrm>
            <a:off x="6324600" y="1883664"/>
            <a:ext cx="5410199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57200" y="4005072"/>
            <a:ext cx="54102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8" name="Content Left Bottom"/>
          <p:cNvSpPr>
            <a:spLocks noGrp="1"/>
          </p:cNvSpPr>
          <p:nvPr>
            <p:ph sz="quarter" idx="14"/>
          </p:nvPr>
        </p:nvSpPr>
        <p:spPr>
          <a:xfrm>
            <a:off x="457200" y="4489704"/>
            <a:ext cx="5410200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24600" y="4005072"/>
            <a:ext cx="5410199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10" name="Content Right Bottom"/>
          <p:cNvSpPr>
            <a:spLocks noGrp="1"/>
          </p:cNvSpPr>
          <p:nvPr>
            <p:ph sz="quarter" idx="16"/>
          </p:nvPr>
        </p:nvSpPr>
        <p:spPr>
          <a:xfrm>
            <a:off x="6324600" y="4489704"/>
            <a:ext cx="5410199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3BE1CE2-932C-4B09-AD15-38721948FC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  <p:sp>
        <p:nvSpPr>
          <p:cNvPr id="14" name="Slide Number Placeholder 20">
            <a:extLst>
              <a:ext uri="{FF2B5EF4-FFF2-40B4-BE49-F238E27FC236}">
                <a16:creationId xmlns:a16="http://schemas.microsoft.com/office/drawing/2014/main" id="{BCA45108-96ED-4EBF-AAD1-C549C7960838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78831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864" userDrawn="1">
          <p15:clr>
            <a:srgbClr val="FBAE40"/>
          </p15:clr>
        </p15:guide>
        <p15:guide id="10" pos="3984">
          <p15:clr>
            <a:srgbClr val="FBAE40"/>
          </p15:clr>
        </p15:guide>
        <p15:guide id="14" pos="3696">
          <p15:clr>
            <a:srgbClr val="FBAE40"/>
          </p15:clr>
        </p15:guide>
        <p15:guide id="15" orient="horz" pos="1184">
          <p15:clr>
            <a:srgbClr val="FBAE40"/>
          </p15:clr>
        </p15:guide>
        <p15:guide id="17" orient="horz" pos="2832">
          <p15:clr>
            <a:srgbClr val="FBAE40"/>
          </p15:clr>
        </p15:guide>
        <p15:guide id="18" orient="horz" pos="25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F391B83-A074-48C0-9CB1-3BD978D196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284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F391B83-A074-48C0-9CB1-3BD978D196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3454400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368799" y="139903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6" name="Content Middle Top"/>
          <p:cNvSpPr>
            <a:spLocks noGrp="1"/>
          </p:cNvSpPr>
          <p:nvPr>
            <p:ph sz="quarter" idx="12"/>
          </p:nvPr>
        </p:nvSpPr>
        <p:spPr>
          <a:xfrm>
            <a:off x="4368799" y="1883664"/>
            <a:ext cx="3454400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8" name="Content Right Top"/>
          <p:cNvSpPr>
            <a:spLocks noGrp="1"/>
          </p:cNvSpPr>
          <p:nvPr>
            <p:ph sz="quarter" idx="14"/>
          </p:nvPr>
        </p:nvSpPr>
        <p:spPr>
          <a:xfrm>
            <a:off x="8280400" y="1883664"/>
            <a:ext cx="3454400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57200" y="400507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10" name="Content Left Bottom"/>
          <p:cNvSpPr>
            <a:spLocks noGrp="1"/>
          </p:cNvSpPr>
          <p:nvPr>
            <p:ph sz="quarter" idx="16"/>
          </p:nvPr>
        </p:nvSpPr>
        <p:spPr>
          <a:xfrm>
            <a:off x="457200" y="4489704"/>
            <a:ext cx="3454400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368799" y="400507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12" name="Content Middle Bottom"/>
          <p:cNvSpPr>
            <a:spLocks noGrp="1"/>
          </p:cNvSpPr>
          <p:nvPr>
            <p:ph sz="quarter" idx="18"/>
          </p:nvPr>
        </p:nvSpPr>
        <p:spPr>
          <a:xfrm>
            <a:off x="4368799" y="4489704"/>
            <a:ext cx="3454400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280400" y="4005072"/>
            <a:ext cx="34544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14" name="Content Right Bottom"/>
          <p:cNvSpPr>
            <a:spLocks noGrp="1"/>
          </p:cNvSpPr>
          <p:nvPr>
            <p:ph sz="quarter" idx="20"/>
          </p:nvPr>
        </p:nvSpPr>
        <p:spPr>
          <a:xfrm>
            <a:off x="8280400" y="4489704"/>
            <a:ext cx="3454400" cy="191109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C8A8AC5D-4996-4FE6-A696-368735BD4F1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  <p:sp>
        <p:nvSpPr>
          <p:cNvPr id="23" name="Slide Number Placeholder 20">
            <a:extLst>
              <a:ext uri="{FF2B5EF4-FFF2-40B4-BE49-F238E27FC236}">
                <a16:creationId xmlns:a16="http://schemas.microsoft.com/office/drawing/2014/main" id="{CBF4C491-E74A-4BA7-BBAE-FF7272CAB73A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4178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2752">
          <p15:clr>
            <a:srgbClr val="FBAE40"/>
          </p15:clr>
        </p15:guide>
        <p15:guide id="14" pos="5216">
          <p15:clr>
            <a:srgbClr val="FBAE40"/>
          </p15:clr>
        </p15:guide>
        <p15:guide id="18" pos="2464">
          <p15:clr>
            <a:srgbClr val="FBAE40"/>
          </p15:clr>
        </p15:guide>
        <p15:guide id="20" pos="4928">
          <p15:clr>
            <a:srgbClr val="FBAE40"/>
          </p15:clr>
        </p15:guide>
        <p15:guide id="21" orient="horz" pos="2520">
          <p15:clr>
            <a:srgbClr val="FBAE40"/>
          </p15:clr>
        </p15:guide>
        <p15:guide id="24" orient="horz" pos="880">
          <p15:clr>
            <a:srgbClr val="FBAE40"/>
          </p15:clr>
        </p15:guide>
        <p15:guide id="25" orient="horz" pos="1184">
          <p15:clr>
            <a:srgbClr val="FBAE40"/>
          </p15:clr>
        </p15:guide>
        <p15:guide id="27" orient="horz" pos="283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BE8CD9-E546-4E52-8983-E7C172ECC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688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BE8CD9-E546-4E52-8983-E7C172ECC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/>
              <a:t>Conteúdo</a:t>
            </a:r>
            <a:endParaRPr lang="pt-BR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D7BE88-47BD-4B06-9741-7BF4A646EA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  <p:sp>
        <p:nvSpPr>
          <p:cNvPr id="7" name="Slide Number Placeholder 20">
            <a:extLst>
              <a:ext uri="{FF2B5EF4-FFF2-40B4-BE49-F238E27FC236}">
                <a16:creationId xmlns:a16="http://schemas.microsoft.com/office/drawing/2014/main" id="{4C3DEBF0-7F8D-4D36-A43D-E09DA18064BD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30637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2BF1E3D-3846-41F3-82C7-167E1431B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44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2BF1E3D-3846-41F3-82C7-167E1431B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8E32FD0-7C47-4348-8E30-9D0867335B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 rtl="0"/>
            <a:endParaRPr lang="pt-BR" sz="1400" kern="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20AEA1C-20A7-4B4D-92CD-C8F6947EC4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606103" y="5791201"/>
            <a:ext cx="3128697" cy="546100"/>
          </a:xfrm>
          <a:prstGeom prst="rect">
            <a:avLst/>
          </a:prstGeom>
        </p:spPr>
      </p:pic>
      <p:pic>
        <p:nvPicPr>
          <p:cNvPr id="12" name="Google Shape;107;p6">
            <a:extLst>
              <a:ext uri="{FF2B5EF4-FFF2-40B4-BE49-F238E27FC236}">
                <a16:creationId xmlns:a16="http://schemas.microsoft.com/office/drawing/2014/main" id="{B175044A-98F7-449E-ACE2-B7CA8BE8C5C1}"/>
              </a:ext>
            </a:extLst>
          </p:cNvPr>
          <p:cNvPicPr preferRelativeResize="0"/>
          <p:nvPr userDrawn="1"/>
        </p:nvPicPr>
        <p:blipFill rotWithShape="1">
          <a:blip r:embed="rId6">
            <a:alphaModFix/>
          </a:blip>
          <a:srcRect l="42935" b="65480"/>
          <a:stretch/>
        </p:blipFill>
        <p:spPr>
          <a:xfrm>
            <a:off x="0" y="4393027"/>
            <a:ext cx="3650370" cy="246497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75074861-0C32-4DAC-A35B-D5251CE997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3429000"/>
            <a:ext cx="3822699" cy="731290"/>
          </a:xfrm>
        </p:spPr>
        <p:txBody>
          <a:bodyPr wrap="square" lIns="0" tIns="0" rIns="0" bIns="0" anchor="b">
            <a:spAutoFit/>
          </a:bodyPr>
          <a:lstStyle>
            <a:lvl1pPr marL="0" indent="0" rtl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/>
              <a:t>OBRIGADO</a:t>
            </a:r>
          </a:p>
        </p:txBody>
      </p:sp>
    </p:spTree>
    <p:extLst>
      <p:ext uri="{BB962C8B-B14F-4D97-AF65-F5344CB8AC3E}">
        <p14:creationId xmlns:p14="http://schemas.microsoft.com/office/powerpoint/2010/main" val="24296526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58910F-EFDC-4BC8-9C45-CC4F214661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2534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 Cap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3FD57B-EAB1-4E06-90F4-147819CCB4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963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3FD57B-EAB1-4E06-90F4-147819CCB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oogle Shape;118;p7">
            <a:extLst>
              <a:ext uri="{FF2B5EF4-FFF2-40B4-BE49-F238E27FC236}">
                <a16:creationId xmlns:a16="http://schemas.microsoft.com/office/drawing/2014/main" id="{F81DFB38-931F-410E-943C-4ECD4AB41BA5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42935" b="65480"/>
          <a:stretch/>
        </p:blipFill>
        <p:spPr>
          <a:xfrm>
            <a:off x="0" y="4393027"/>
            <a:ext cx="3650370" cy="24649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88E8C297-EAD1-4A82-B554-E0214C196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2739142"/>
            <a:ext cx="4997328" cy="1200308"/>
          </a:xfrm>
        </p:spPr>
        <p:txBody>
          <a:bodyPr vert="horz">
            <a:normAutofit/>
          </a:bodyPr>
          <a:lstStyle>
            <a:lvl1pPr rtl="0">
              <a:defRPr sz="7200">
                <a:solidFill>
                  <a:schemeClr val="accent3"/>
                </a:solidFill>
              </a:defRPr>
            </a:lvl1pPr>
          </a:lstStyle>
          <a:p>
            <a:r>
              <a:rPr lang="pt-BR" dirty="0"/>
              <a:t>Obrigad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551AFED-7B71-4BCD-BBC0-A2ED427648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24" r="20571"/>
          <a:stretch/>
        </p:blipFill>
        <p:spPr>
          <a:xfrm>
            <a:off x="9452444" y="6092726"/>
            <a:ext cx="2298701" cy="334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789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9E4032B-FA5F-4D1C-B455-832299B361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327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9E4032B-FA5F-4D1C-B455-832299B36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16026E0-ED2C-4953-929B-261B84732B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 rtl="0"/>
            <a:endParaRPr lang="pt-BR" sz="1400" kern="0" dirty="0">
              <a:solidFill>
                <a:schemeClr val="tx1"/>
              </a:solidFill>
            </a:endParaRPr>
          </a:p>
        </p:txBody>
      </p:sp>
      <p:pic>
        <p:nvPicPr>
          <p:cNvPr id="13" name="Google Shape;107;p6">
            <a:extLst>
              <a:ext uri="{FF2B5EF4-FFF2-40B4-BE49-F238E27FC236}">
                <a16:creationId xmlns:a16="http://schemas.microsoft.com/office/drawing/2014/main" id="{0AB528E2-AEFF-4A84-8E20-D0880486EE10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42935" b="65480"/>
          <a:stretch/>
        </p:blipFill>
        <p:spPr>
          <a:xfrm>
            <a:off x="0" y="4393027"/>
            <a:ext cx="3650370" cy="2464974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09AD7CF-3E2B-476C-9BB1-402D2F355AB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  <p:sp>
        <p:nvSpPr>
          <p:cNvPr id="16" name="Title">
            <a:extLst>
              <a:ext uri="{FF2B5EF4-FFF2-40B4-BE49-F238E27FC236}">
                <a16:creationId xmlns:a16="http://schemas.microsoft.com/office/drawing/2014/main" id="{12ACD988-47A5-4686-B42F-CA220E7712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1" y="3429000"/>
            <a:ext cx="3193170" cy="731290"/>
          </a:xfrm>
        </p:spPr>
        <p:txBody>
          <a:bodyPr wrap="square" lIns="0" tIns="0" rIns="0" bIns="0" anchor="b">
            <a:spAutoFit/>
          </a:bodyPr>
          <a:lstStyle>
            <a:lvl1pPr marL="0" indent="0" rtl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37277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CF5A3B-9BFE-4602-919F-2D976A8137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4249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CF5A3B-9BFE-4602-919F-2D976A8137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6" name="Slide Number Placeholder 20">
            <a:extLst>
              <a:ext uri="{FF2B5EF4-FFF2-40B4-BE49-F238E27FC236}">
                <a16:creationId xmlns:a16="http://schemas.microsoft.com/office/drawing/2014/main" id="{5D84146C-8C59-4870-B3CC-FBA28539E88C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EDB885-B90C-47AF-8FD3-AF7C2EAA82A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662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5A0EE7-5E9C-4FAA-894F-B1BC1BF86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519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5A0EE7-5E9C-4FAA-894F-B1BC1BF86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" name="Slide Number Placeholder 20">
            <a:extLst>
              <a:ext uri="{FF2B5EF4-FFF2-40B4-BE49-F238E27FC236}">
                <a16:creationId xmlns:a16="http://schemas.microsoft.com/office/drawing/2014/main" id="{7C962F0E-C23A-402C-887E-CE0E60262F76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846700-7642-4834-8B70-D97F82329C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582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5FA49-6B14-4EFB-8D26-852EACCED6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8687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5FA49-6B14-4EFB-8D26-852EACCED6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12776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6" name="Slide Number Placeholder 20">
            <a:extLst>
              <a:ext uri="{FF2B5EF4-FFF2-40B4-BE49-F238E27FC236}">
                <a16:creationId xmlns:a16="http://schemas.microsoft.com/office/drawing/2014/main" id="{EAB3E77C-C348-45C1-A857-934EFCC6532F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1B79E2-0BDE-4E3C-BD4D-F8FABBC287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83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80">
          <p15:clr>
            <a:srgbClr val="FBAE40"/>
          </p15:clr>
        </p15:guide>
        <p15:guide id="5" orient="horz" pos="118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E465C30-9AA0-442C-99D9-DF74CF83B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393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E465C30-9AA0-442C-99D9-DF74CF83B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12776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457200" y="1883664"/>
            <a:ext cx="112776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7" name="Slide Number Placeholder 20">
            <a:extLst>
              <a:ext uri="{FF2B5EF4-FFF2-40B4-BE49-F238E27FC236}">
                <a16:creationId xmlns:a16="http://schemas.microsoft.com/office/drawing/2014/main" id="{C9AD1A5F-5026-4000-89DE-3B7EF7462D45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511E755-D1E3-4AD2-A68C-6956CBD551D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085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80">
          <p15:clr>
            <a:srgbClr val="FBAE40"/>
          </p15:clr>
        </p15:guide>
        <p15:guide id="6" orient="horz" pos="118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ortrait photo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E33083-1748-4861-B88F-2D764F9EB0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27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E33083-1748-4861-B88F-2D764F9EB0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963C4256-FB04-439A-992B-410C42319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7365998" cy="75895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199" y="1399032"/>
            <a:ext cx="7366000" cy="429768"/>
          </a:xfrm>
        </p:spPr>
        <p:txBody>
          <a:bodyPr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0" indent="0" rtl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pt-BR" dirty="0" err="1"/>
              <a:t>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  <a:p>
            <a:pPr lvl="1"/>
            <a:r>
              <a:rPr lang="pt-BR" dirty="0" err="1"/>
              <a:t>Subheading</a:t>
            </a:r>
            <a:r>
              <a:rPr lang="pt-BR" dirty="0"/>
              <a:t> 1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4" name="Content"/>
          <p:cNvSpPr>
            <a:spLocks noGrp="1"/>
          </p:cNvSpPr>
          <p:nvPr>
            <p:ph sz="half" idx="11"/>
          </p:nvPr>
        </p:nvSpPr>
        <p:spPr>
          <a:xfrm>
            <a:off x="457198" y="1883664"/>
            <a:ext cx="7366000" cy="4517136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0D3F1C2C-B46E-4074-AA0F-9EAD49A9905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280400" y="0"/>
            <a:ext cx="3911600" cy="6858000"/>
          </a:xfrm>
        </p:spPr>
        <p:txBody>
          <a:bodyPr tIns="640080" anchor="ctr"/>
          <a:lstStyle>
            <a:lvl1pPr marL="0" indent="0" algn="ctr" rtl="0">
              <a:buNone/>
              <a:defRPr sz="1400">
                <a:solidFill>
                  <a:srgbClr val="C3C3C3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icon</a:t>
            </a:r>
            <a:r>
              <a:rPr lang="pt-BR" dirty="0"/>
              <a:t> to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picture</a:t>
            </a:r>
            <a:endParaRPr lang="pt-BR" dirty="0"/>
          </a:p>
        </p:txBody>
      </p:sp>
      <p:sp>
        <p:nvSpPr>
          <p:cNvPr id="8" name="Slide Number Placeholder 20">
            <a:extLst>
              <a:ext uri="{FF2B5EF4-FFF2-40B4-BE49-F238E27FC236}">
                <a16:creationId xmlns:a16="http://schemas.microsoft.com/office/drawing/2014/main" id="{8B669F21-B746-4C72-A42F-EE589B986C6F}"/>
              </a:ext>
            </a:extLst>
          </p:cNvPr>
          <p:cNvSpPr txBox="1">
            <a:spLocks/>
          </p:cNvSpPr>
          <p:nvPr userDrawn="1"/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6F90B37E-B634-4296-A451-A576B1C492FB}" type="slidenum">
              <a:rPr lang="pt-BR" smtClean="0"/>
              <a:pPr rtl="0"/>
              <a:t>‹#›</a:t>
            </a:fld>
            <a:endParaRPr lang="pt-B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5F03F5-4529-443D-A32E-CE00E498068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0473" y="393391"/>
            <a:ext cx="826078" cy="11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95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4" orient="horz" pos="1184">
          <p15:clr>
            <a:srgbClr val="FBAE40"/>
          </p15:clr>
        </p15:guide>
        <p15:guide id="6" pos="4928">
          <p15:clr>
            <a:srgbClr val="FBAE40"/>
          </p15:clr>
        </p15:guide>
        <p15:guide id="9" pos="521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75E4135-C8D3-4154-B830-9DCBEA3CD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2184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75E4135-C8D3-4154-B830-9DCBEA3CD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EAAC3CB-3DFA-40CD-BE4E-E62CC95A0D6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 rtl="0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66834" y="4159643"/>
            <a:ext cx="8905875" cy="877450"/>
          </a:xfrm>
        </p:spPr>
        <p:txBody>
          <a:bodyPr lIns="0" tIns="0" rIns="0" bIns="0" anchor="ctr"/>
          <a:lstStyle>
            <a:lvl1pPr marL="0" indent="0"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pt-BR" dirty="0"/>
              <a:t>##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0317C4-BD3A-4F63-A971-29B6A99EB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834" y="5097154"/>
            <a:ext cx="9629666" cy="566928"/>
          </a:xfrm>
          <a:prstGeom prst="rect">
            <a:avLst/>
          </a:prstGeom>
        </p:spPr>
        <p:txBody>
          <a:bodyPr vert="horz" anchor="ctr"/>
          <a:lstStyle>
            <a:lvl1pPr algn="l" rtl="0">
              <a:lnSpc>
                <a:spcPts val="3000"/>
              </a:lnSpc>
              <a:defRPr sz="3000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pt-BR" dirty="0"/>
              <a:t>Click to </a:t>
            </a:r>
            <a:r>
              <a:rPr lang="pt-BR" dirty="0" err="1"/>
              <a:t>add</a:t>
            </a:r>
            <a:r>
              <a:rPr lang="pt-BR" dirty="0"/>
              <a:t> a </a:t>
            </a:r>
            <a:r>
              <a:rPr lang="pt-BR" dirty="0" err="1"/>
              <a:t>divider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22546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AFBA700-86A8-4D6B-B011-E135CD61A6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465030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532" imgH="533" progId="TCLayout.ActiveDocument.1">
                  <p:embed/>
                </p:oleObj>
              </mc:Choice>
              <mc:Fallback>
                <p:oleObj name="think-cell Slide" r:id="rId29" imgW="532" imgH="53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AFBA700-86A8-4D6B-B011-E135CD61A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11277600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br>
              <a:rPr lang="pt-BR" dirty="0"/>
            </a:br>
            <a:r>
              <a:rPr lang="pt-BR" dirty="0"/>
              <a:t>[T2]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11277600" cy="5001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to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E3A170C0-BCB0-42FA-ABEF-686522E9D8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032" y="6528816"/>
            <a:ext cx="326768" cy="192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900">
                <a:solidFill>
                  <a:schemeClr val="tx1"/>
                </a:solidFill>
              </a:defRPr>
            </a:lvl1pPr>
          </a:lstStyle>
          <a:p>
            <a:fld id="{6F90B37E-B634-4296-A451-A576B1C492FB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20184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20" r:id="rId2"/>
    <p:sldLayoutId id="2147483721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719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3" r:id="rId23"/>
    <p:sldLayoutId id="2147483716" r:id="rId24"/>
    <p:sldLayoutId id="2147483717" r:id="rId25"/>
    <p:sldLayoutId id="2147483725" r:id="rId26"/>
  </p:sldLayoutIdLst>
  <p:hf hdr="0" dt="0"/>
  <p:txStyles>
    <p:titleStyle>
      <a:lvl1pPr algn="l" defTabSz="914370" rtl="0" eaLnBrk="1" latinLnBrk="0" hangingPunct="1">
        <a:lnSpc>
          <a:spcPct val="90000"/>
        </a:lnSpc>
        <a:spcBef>
          <a:spcPct val="0"/>
        </a:spcBef>
        <a:buNone/>
        <a:defRPr sz="3200" b="1" kern="0" cap="none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79994" indent="-179994" algn="l" defTabSz="91437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1pPr>
      <a:lvl2pPr marL="359988" indent="-179994" algn="l" defTabSz="914370" rtl="0" eaLnBrk="1" latinLnBrk="0" hangingPunct="1">
        <a:spcBef>
          <a:spcPts val="300"/>
        </a:spcBef>
        <a:buClrTx/>
        <a:buFont typeface="Courier New" panose="02070309020205020404" pitchFamily="49" charset="0"/>
        <a:buChar char="o"/>
        <a:defRPr sz="1400" kern="0">
          <a:solidFill>
            <a:schemeClr val="tx1"/>
          </a:solidFill>
          <a:latin typeface="+mn-lt"/>
          <a:ea typeface="+mn-ea"/>
          <a:cs typeface="+mn-cs"/>
        </a:defRPr>
      </a:lvl2pPr>
      <a:lvl3pPr marL="539982" indent="-179994" algn="l" defTabSz="914370" rtl="0" eaLnBrk="1" latinLnBrk="0" hangingPunct="1">
        <a:spcBef>
          <a:spcPts val="300"/>
        </a:spcBef>
        <a:buClrTx/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3pPr>
      <a:lvl4pPr marL="719977" indent="-179994" algn="l" defTabSz="914370" rtl="0" eaLnBrk="1" latinLnBrk="0" hangingPunct="1">
        <a:spcBef>
          <a:spcPts val="300"/>
        </a:spcBef>
        <a:buClrTx/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4pPr>
      <a:lvl5pPr marL="899971" indent="-179994" algn="l" defTabSz="914370" rtl="0" eaLnBrk="1" latinLnBrk="0" hangingPunct="1">
        <a:spcBef>
          <a:spcPts val="300"/>
        </a:spcBef>
        <a:buClrTx/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5pPr>
      <a:lvl6pPr marL="1079965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59959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39953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994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/>
      <a:lvl1pPr marL="0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79994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59988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39982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19977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899971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79965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59959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39953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3" pos="288">
          <p15:clr>
            <a:srgbClr val="F26B43"/>
          </p15:clr>
        </p15:guide>
        <p15:guide id="4" pos="7392">
          <p15:clr>
            <a:srgbClr val="F26B43"/>
          </p15:clr>
        </p15:guide>
        <p15:guide id="6" orient="horz" pos="40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9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0.emf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2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emf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5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4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895BD7-2C06-4B39-9B7F-90548E4736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03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F895BD7-2C06-4B39-9B7F-90548E4736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3FEC75C-2C8F-4377-9D60-9B58130637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noProof="0" dirty="0">
                <a:solidFill>
                  <a:schemeClr val="accent3"/>
                </a:solidFill>
              </a:rPr>
              <a:t>Open Finan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75B10C6-6F11-4299-A749-24D0656E1F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35410" y="3989467"/>
            <a:ext cx="5299390" cy="276999"/>
          </a:xfrm>
        </p:spPr>
        <p:txBody>
          <a:bodyPr/>
          <a:lstStyle/>
          <a:p>
            <a:r>
              <a:rPr lang="pt-BR" sz="1800" b="1" noProof="0" dirty="0"/>
              <a:t>Audiência Pública PLP 207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389D78F-04C4-40BB-8CCF-D6FA6CE94A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5410" y="4569250"/>
            <a:ext cx="4730336" cy="184666"/>
          </a:xfrm>
        </p:spPr>
        <p:txBody>
          <a:bodyPr/>
          <a:lstStyle/>
          <a:p>
            <a:pPr>
              <a:buNone/>
            </a:pPr>
            <a:r>
              <a:rPr lang="pt-BR" dirty="0"/>
              <a:t>12</a:t>
            </a:r>
            <a:r>
              <a:rPr lang="pt-BR" noProof="0" dirty="0"/>
              <a:t> de novembro </a:t>
            </a:r>
            <a:r>
              <a:rPr lang="pt-BR" sz="1200" noProof="0" dirty="0"/>
              <a:t>de 2025</a:t>
            </a:r>
          </a:p>
        </p:txBody>
      </p:sp>
    </p:spTree>
    <p:extLst>
      <p:ext uri="{BB962C8B-B14F-4D97-AF65-F5344CB8AC3E}">
        <p14:creationId xmlns:p14="http://schemas.microsoft.com/office/powerpoint/2010/main" val="33457811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C2B99-CCE0-A88C-D620-94C95EF4E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C47C713-9BE6-10B0-EFBE-F2029DEDDF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742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47C713-9BE6-10B0-EFBE-F2029DEDD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FF896E1-FEC4-C7D0-964E-88E6FC4CC075}"/>
              </a:ext>
            </a:extLst>
          </p:cNvPr>
          <p:cNvSpPr/>
          <p:nvPr/>
        </p:nvSpPr>
        <p:spPr>
          <a:xfrm>
            <a:off x="385971" y="3910378"/>
            <a:ext cx="5550937" cy="249042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 err="1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A60B5C-8EC2-D805-5B44-9139875A02E3}"/>
              </a:ext>
            </a:extLst>
          </p:cNvPr>
          <p:cNvSpPr/>
          <p:nvPr/>
        </p:nvSpPr>
        <p:spPr>
          <a:xfrm>
            <a:off x="385972" y="1397000"/>
            <a:ext cx="5550936" cy="242258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 err="1">
              <a:solidFill>
                <a:schemeClr val="tx1"/>
              </a:solidFill>
            </a:endParaRPr>
          </a:p>
        </p:txBody>
      </p:sp>
      <p:sp>
        <p:nvSpPr>
          <p:cNvPr id="19" name="Numbered Circle">
            <a:extLst>
              <a:ext uri="{FF2B5EF4-FFF2-40B4-BE49-F238E27FC236}">
                <a16:creationId xmlns:a16="http://schemas.microsoft.com/office/drawing/2014/main" id="{826DACB5-D822-6CEF-5F4C-3DFCC20E6745}"/>
              </a:ext>
            </a:extLst>
          </p:cNvPr>
          <p:cNvSpPr>
            <a:spLocks noChangeAspect="1"/>
          </p:cNvSpPr>
          <p:nvPr/>
        </p:nvSpPr>
        <p:spPr>
          <a:xfrm>
            <a:off x="6462391" y="2278161"/>
            <a:ext cx="167017" cy="167017"/>
          </a:xfrm>
          <a:prstGeom prst="ellipse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endParaRPr lang="pt-BR" sz="1000" kern="0" dirty="0">
              <a:solidFill>
                <a:schemeClr val="tx1"/>
              </a:solidFill>
            </a:endParaRPr>
          </a:p>
        </p:txBody>
      </p:sp>
      <p:sp>
        <p:nvSpPr>
          <p:cNvPr id="20" name="Numbered Circle">
            <a:extLst>
              <a:ext uri="{FF2B5EF4-FFF2-40B4-BE49-F238E27FC236}">
                <a16:creationId xmlns:a16="http://schemas.microsoft.com/office/drawing/2014/main" id="{8D4EC184-BB3E-8F73-0538-6AD0FB2E5C8D}"/>
              </a:ext>
            </a:extLst>
          </p:cNvPr>
          <p:cNvSpPr>
            <a:spLocks noChangeAspect="1"/>
          </p:cNvSpPr>
          <p:nvPr/>
        </p:nvSpPr>
        <p:spPr>
          <a:xfrm>
            <a:off x="6462391" y="3398366"/>
            <a:ext cx="167017" cy="167017"/>
          </a:xfrm>
          <a:prstGeom prst="ellipse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endParaRPr lang="pt-BR" sz="1000" kern="0" dirty="0">
              <a:solidFill>
                <a:schemeClr val="tx1"/>
              </a:solidFill>
            </a:endParaRPr>
          </a:p>
        </p:txBody>
      </p:sp>
      <p:sp>
        <p:nvSpPr>
          <p:cNvPr id="21" name="Numbered Circle">
            <a:extLst>
              <a:ext uri="{FF2B5EF4-FFF2-40B4-BE49-F238E27FC236}">
                <a16:creationId xmlns:a16="http://schemas.microsoft.com/office/drawing/2014/main" id="{7ACA5831-2F44-E6D7-5929-3042198E7B86}"/>
              </a:ext>
            </a:extLst>
          </p:cNvPr>
          <p:cNvSpPr>
            <a:spLocks noChangeAspect="1"/>
          </p:cNvSpPr>
          <p:nvPr/>
        </p:nvSpPr>
        <p:spPr>
          <a:xfrm>
            <a:off x="6462391" y="4512874"/>
            <a:ext cx="167017" cy="167017"/>
          </a:xfrm>
          <a:prstGeom prst="ellipse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endParaRPr lang="pt-BR" sz="1000" kern="0" dirty="0">
              <a:solidFill>
                <a:schemeClr val="tx1"/>
              </a:solidFill>
            </a:endParaRPr>
          </a:p>
        </p:txBody>
      </p:sp>
      <p:sp>
        <p:nvSpPr>
          <p:cNvPr id="22" name="Numbered Circle">
            <a:extLst>
              <a:ext uri="{FF2B5EF4-FFF2-40B4-BE49-F238E27FC236}">
                <a16:creationId xmlns:a16="http://schemas.microsoft.com/office/drawing/2014/main" id="{72DF0FF7-A750-EBE3-89A6-B78A2055C246}"/>
              </a:ext>
            </a:extLst>
          </p:cNvPr>
          <p:cNvSpPr>
            <a:spLocks noChangeAspect="1"/>
          </p:cNvSpPr>
          <p:nvPr/>
        </p:nvSpPr>
        <p:spPr>
          <a:xfrm>
            <a:off x="6462391" y="5699963"/>
            <a:ext cx="167017" cy="167017"/>
          </a:xfrm>
          <a:prstGeom prst="ellipse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endParaRPr lang="pt-BR" sz="1000" kern="0" dirty="0">
              <a:solidFill>
                <a:schemeClr val="tx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FB568D3-F77E-4D77-924C-CB452F1B091E}"/>
              </a:ext>
            </a:extLst>
          </p:cNvPr>
          <p:cNvSpPr/>
          <p:nvPr/>
        </p:nvSpPr>
        <p:spPr>
          <a:xfrm>
            <a:off x="385972" y="1372205"/>
            <a:ext cx="431446" cy="431208"/>
          </a:xfrm>
          <a:prstGeom prst="ellipse">
            <a:avLst/>
          </a:prstGeom>
          <a:solidFill>
            <a:schemeClr val="bg1"/>
          </a:solidFill>
          <a:ln w="12700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7477822C-F050-DE8E-688B-4C9525FEB4BB}"/>
              </a:ext>
            </a:extLst>
          </p:cNvPr>
          <p:cNvSpPr/>
          <p:nvPr/>
        </p:nvSpPr>
        <p:spPr>
          <a:xfrm>
            <a:off x="417525" y="1404505"/>
            <a:ext cx="368340" cy="36661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accent3"/>
              </a:solidFill>
            </a:endParaRPr>
          </a:p>
        </p:txBody>
      </p:sp>
      <p:pic>
        <p:nvPicPr>
          <p:cNvPr id="98" name="ico-migration">
            <a:extLst>
              <a:ext uri="{FF2B5EF4-FFF2-40B4-BE49-F238E27FC236}">
                <a16:creationId xmlns:a16="http://schemas.microsoft.com/office/drawing/2014/main" id="{E2BDDEB2-4A3D-54B9-7F95-34BD4BE731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9782" y="1485421"/>
            <a:ext cx="223826" cy="223826"/>
          </a:xfrm>
          <a:prstGeom prst="rect">
            <a:avLst/>
          </a:prstGeom>
        </p:spPr>
      </p:pic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56A1F1E5-FE15-11E0-2091-C63E5B4F36E3}"/>
              </a:ext>
            </a:extLst>
          </p:cNvPr>
          <p:cNvSpPr txBox="1">
            <a:spLocks/>
          </p:cNvSpPr>
          <p:nvPr/>
        </p:nvSpPr>
        <p:spPr>
          <a:xfrm>
            <a:off x="889675" y="1487797"/>
            <a:ext cx="3024234" cy="22542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b="1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>
                <a:solidFill>
                  <a:schemeClr val="accent2"/>
                </a:solidFill>
                <a:latin typeface="+mj-lt"/>
              </a:rPr>
              <a:t>Compartilhamento de dados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55B5F963-4139-BE6B-143C-4348FF901F90}"/>
              </a:ext>
            </a:extLst>
          </p:cNvPr>
          <p:cNvSpPr/>
          <p:nvPr/>
        </p:nvSpPr>
        <p:spPr>
          <a:xfrm>
            <a:off x="385972" y="3895241"/>
            <a:ext cx="431446" cy="431208"/>
          </a:xfrm>
          <a:prstGeom prst="ellipse">
            <a:avLst/>
          </a:prstGeom>
          <a:solidFill>
            <a:schemeClr val="bg1"/>
          </a:solidFill>
          <a:ln w="12700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FDC61B3F-44D1-A828-FFA8-649658A939A7}"/>
              </a:ext>
            </a:extLst>
          </p:cNvPr>
          <p:cNvSpPr/>
          <p:nvPr/>
        </p:nvSpPr>
        <p:spPr>
          <a:xfrm>
            <a:off x="417525" y="3927541"/>
            <a:ext cx="368340" cy="36661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accent3"/>
              </a:solidFill>
            </a:endParaRPr>
          </a:p>
        </p:txBody>
      </p:sp>
      <p:pic>
        <p:nvPicPr>
          <p:cNvPr id="99" name="ico-payment">
            <a:extLst>
              <a:ext uri="{FF2B5EF4-FFF2-40B4-BE49-F238E27FC236}">
                <a16:creationId xmlns:a16="http://schemas.microsoft.com/office/drawing/2014/main" id="{C15AE7B2-2DC7-2936-F13E-346CDFE5BA4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9782" y="4008457"/>
            <a:ext cx="223826" cy="223826"/>
          </a:xfrm>
          <a:prstGeom prst="rect">
            <a:avLst/>
          </a:prstGeom>
        </p:spPr>
      </p:pic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C170281C-C8E1-5DF7-3585-0886568810F5}"/>
              </a:ext>
            </a:extLst>
          </p:cNvPr>
          <p:cNvSpPr txBox="1">
            <a:spLocks/>
          </p:cNvSpPr>
          <p:nvPr/>
        </p:nvSpPr>
        <p:spPr>
          <a:xfrm>
            <a:off x="889675" y="4010833"/>
            <a:ext cx="2342990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b="1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>
                <a:solidFill>
                  <a:schemeClr val="accent3"/>
                </a:solidFill>
                <a:latin typeface="+mj-lt"/>
              </a:rPr>
              <a:t>Serviços financeiros</a:t>
            </a:r>
          </a:p>
        </p:txBody>
      </p:sp>
      <p:sp>
        <p:nvSpPr>
          <p:cNvPr id="321" name="Rectangle: Rounded Corners 320">
            <a:extLst>
              <a:ext uri="{FF2B5EF4-FFF2-40B4-BE49-F238E27FC236}">
                <a16:creationId xmlns:a16="http://schemas.microsoft.com/office/drawing/2014/main" id="{5382BB3A-F23F-720F-861D-6562758766A5}"/>
              </a:ext>
            </a:extLst>
          </p:cNvPr>
          <p:cNvSpPr>
            <a:spLocks/>
          </p:cNvSpPr>
          <p:nvPr/>
        </p:nvSpPr>
        <p:spPr>
          <a:xfrm>
            <a:off x="772405" y="3283004"/>
            <a:ext cx="4915274" cy="483291"/>
          </a:xfrm>
          <a:prstGeom prst="roundRect">
            <a:avLst>
              <a:gd name="adj" fmla="val 9900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73152" rIns="182880" bIns="18288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regador financeiro, gerenciador financeiro, uso de informações para inteligência e motor de crédito</a:t>
            </a:r>
          </a:p>
        </p:txBody>
      </p:sp>
      <p:sp>
        <p:nvSpPr>
          <p:cNvPr id="322" name="Trapezoid 321">
            <a:extLst>
              <a:ext uri="{FF2B5EF4-FFF2-40B4-BE49-F238E27FC236}">
                <a16:creationId xmlns:a16="http://schemas.microsoft.com/office/drawing/2014/main" id="{605EB4E5-9667-8AAC-BA7F-BB5F63ED85A5}"/>
              </a:ext>
            </a:extLst>
          </p:cNvPr>
          <p:cNvSpPr>
            <a:spLocks/>
          </p:cNvSpPr>
          <p:nvPr/>
        </p:nvSpPr>
        <p:spPr>
          <a:xfrm>
            <a:off x="913379" y="3180397"/>
            <a:ext cx="1385593" cy="100136"/>
          </a:xfrm>
          <a:prstGeom prst="trapezoid">
            <a:avLst>
              <a:gd name="adj" fmla="val 61644"/>
            </a:avLst>
          </a:prstGeom>
          <a:solidFill>
            <a:schemeClr val="accent2">
              <a:lumMod val="75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323" name="Trapezoid 322">
            <a:extLst>
              <a:ext uri="{FF2B5EF4-FFF2-40B4-BE49-F238E27FC236}">
                <a16:creationId xmlns:a16="http://schemas.microsoft.com/office/drawing/2014/main" id="{4D7DDE24-3EE1-3FF8-E066-B64CC9417655}"/>
              </a:ext>
            </a:extLst>
          </p:cNvPr>
          <p:cNvSpPr>
            <a:spLocks/>
          </p:cNvSpPr>
          <p:nvPr/>
        </p:nvSpPr>
        <p:spPr>
          <a:xfrm rot="10800000">
            <a:off x="977272" y="3180397"/>
            <a:ext cx="1257704" cy="179199"/>
          </a:xfrm>
          <a:prstGeom prst="trapezoid">
            <a:avLst>
              <a:gd name="adj" fmla="val 36327"/>
            </a:avLst>
          </a:prstGeom>
          <a:solidFill>
            <a:schemeClr val="accent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3152" rIns="0" bIns="73152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MC Display Condensed"/>
              <a:ea typeface="+mn-ea"/>
              <a:cs typeface="+mn-cs"/>
            </a:endParaRP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B9AF2043-54B7-13E0-817D-907FFD15EE33}"/>
              </a:ext>
            </a:extLst>
          </p:cNvPr>
          <p:cNvSpPr txBox="1">
            <a:spLocks/>
          </p:cNvSpPr>
          <p:nvPr/>
        </p:nvSpPr>
        <p:spPr>
          <a:xfrm>
            <a:off x="1017304" y="3180425"/>
            <a:ext cx="1188424" cy="1692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ASOS DE USO</a:t>
            </a:r>
          </a:p>
        </p:txBody>
      </p:sp>
      <p:sp>
        <p:nvSpPr>
          <p:cNvPr id="430" name="Rectangle: Rounded Corners 429">
            <a:extLst>
              <a:ext uri="{FF2B5EF4-FFF2-40B4-BE49-F238E27FC236}">
                <a16:creationId xmlns:a16="http://schemas.microsoft.com/office/drawing/2014/main" id="{DD99C0A9-09D1-F4E3-8D5D-D98E54A63AD3}"/>
              </a:ext>
            </a:extLst>
          </p:cNvPr>
          <p:cNvSpPr>
            <a:spLocks/>
          </p:cNvSpPr>
          <p:nvPr/>
        </p:nvSpPr>
        <p:spPr>
          <a:xfrm>
            <a:off x="772406" y="5843325"/>
            <a:ext cx="4915274" cy="483291"/>
          </a:xfrm>
          <a:prstGeom prst="roundRect">
            <a:avLst>
              <a:gd name="adj" fmla="val 9900"/>
            </a:avLst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73152" rIns="182880" bIns="18288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ckout em e-commerce, transferências automáticas, Pagamentos Pix na carteira digital do celular, portabilidade de crédito</a:t>
            </a:r>
          </a:p>
        </p:txBody>
      </p:sp>
      <p:sp>
        <p:nvSpPr>
          <p:cNvPr id="431" name="Trapezoid 430">
            <a:extLst>
              <a:ext uri="{FF2B5EF4-FFF2-40B4-BE49-F238E27FC236}">
                <a16:creationId xmlns:a16="http://schemas.microsoft.com/office/drawing/2014/main" id="{AFD4E9A5-63AE-4617-B299-3B4CE0695E20}"/>
              </a:ext>
            </a:extLst>
          </p:cNvPr>
          <p:cNvSpPr>
            <a:spLocks/>
          </p:cNvSpPr>
          <p:nvPr/>
        </p:nvSpPr>
        <p:spPr>
          <a:xfrm>
            <a:off x="913379" y="5740718"/>
            <a:ext cx="1385593" cy="100136"/>
          </a:xfrm>
          <a:prstGeom prst="trapezoid">
            <a:avLst>
              <a:gd name="adj" fmla="val 61644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432" name="Trapezoid 431">
            <a:extLst>
              <a:ext uri="{FF2B5EF4-FFF2-40B4-BE49-F238E27FC236}">
                <a16:creationId xmlns:a16="http://schemas.microsoft.com/office/drawing/2014/main" id="{428C95C5-B693-F53B-C8D7-A79BDBB13E35}"/>
              </a:ext>
            </a:extLst>
          </p:cNvPr>
          <p:cNvSpPr>
            <a:spLocks/>
          </p:cNvSpPr>
          <p:nvPr/>
        </p:nvSpPr>
        <p:spPr>
          <a:xfrm rot="10800000">
            <a:off x="977272" y="5740718"/>
            <a:ext cx="1257704" cy="179199"/>
          </a:xfrm>
          <a:prstGeom prst="trapezoid">
            <a:avLst>
              <a:gd name="adj" fmla="val 36327"/>
            </a:avLst>
          </a:prstGeom>
          <a:solidFill>
            <a:schemeClr val="accent3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3152" rIns="0" bIns="73152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MC Display Condensed"/>
              <a:ea typeface="+mn-ea"/>
              <a:cs typeface="+mn-cs"/>
            </a:endParaRPr>
          </a:p>
        </p:txBody>
      </p:sp>
      <p:sp>
        <p:nvSpPr>
          <p:cNvPr id="433" name="TextBox 432">
            <a:extLst>
              <a:ext uri="{FF2B5EF4-FFF2-40B4-BE49-F238E27FC236}">
                <a16:creationId xmlns:a16="http://schemas.microsoft.com/office/drawing/2014/main" id="{D93123C1-BF57-3706-3B6E-B2DFF71C8960}"/>
              </a:ext>
            </a:extLst>
          </p:cNvPr>
          <p:cNvSpPr txBox="1">
            <a:spLocks/>
          </p:cNvSpPr>
          <p:nvPr/>
        </p:nvSpPr>
        <p:spPr>
          <a:xfrm>
            <a:off x="1073584" y="5740746"/>
            <a:ext cx="1075864" cy="1692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ASOS DE USO</a:t>
            </a:r>
          </a:p>
        </p:txBody>
      </p:sp>
      <p:grpSp>
        <p:nvGrpSpPr>
          <p:cNvPr id="532" name="Group 531">
            <a:extLst>
              <a:ext uri="{FF2B5EF4-FFF2-40B4-BE49-F238E27FC236}">
                <a16:creationId xmlns:a16="http://schemas.microsoft.com/office/drawing/2014/main" id="{4A932CCF-9844-CCD8-8E37-AA5B7F92C161}"/>
              </a:ext>
            </a:extLst>
          </p:cNvPr>
          <p:cNvGrpSpPr/>
          <p:nvPr/>
        </p:nvGrpSpPr>
        <p:grpSpPr>
          <a:xfrm>
            <a:off x="806560" y="1882367"/>
            <a:ext cx="4729656" cy="1066462"/>
            <a:chOff x="806560" y="2484535"/>
            <a:chExt cx="4729656" cy="1066462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7BA1B2-9835-B696-D10A-71C01F5E5C78}"/>
                </a:ext>
              </a:extLst>
            </p:cNvPr>
            <p:cNvGrpSpPr/>
            <p:nvPr/>
          </p:nvGrpSpPr>
          <p:grpSpPr>
            <a:xfrm>
              <a:off x="991036" y="2873978"/>
              <a:ext cx="474350" cy="474350"/>
              <a:chOff x="4983587" y="5075313"/>
              <a:chExt cx="816844" cy="816844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B6516BEC-0319-75B8-495C-F3BF37C11BA8}"/>
                  </a:ext>
                </a:extLst>
              </p:cNvPr>
              <p:cNvSpPr/>
              <p:nvPr/>
            </p:nvSpPr>
            <p:spPr>
              <a:xfrm>
                <a:off x="4983587" y="5075313"/>
                <a:ext cx="816844" cy="816844"/>
              </a:xfrm>
              <a:prstGeom prst="ellipse">
                <a:avLst/>
              </a:prstGeom>
              <a:solidFill>
                <a:schemeClr val="accent2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809" tIns="76809" rIns="76809" bIns="76809" rtlCol="0" anchor="ctr"/>
              <a:lstStyle/>
              <a:p>
                <a:pPr algn="ctr"/>
                <a:endParaRPr lang="pt-BR" altLang="zh-CN" sz="1051" kern="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E8EE9EF2-82C0-C9F4-7BB4-3F4BA6CE75C8}"/>
                  </a:ext>
                </a:extLst>
              </p:cNvPr>
              <p:cNvGrpSpPr/>
              <p:nvPr/>
            </p:nvGrpSpPr>
            <p:grpSpPr>
              <a:xfrm>
                <a:off x="5175079" y="5257331"/>
                <a:ext cx="433859" cy="452808"/>
                <a:chOff x="4238625" y="4713288"/>
                <a:chExt cx="579438" cy="574675"/>
              </a:xfrm>
              <a:solidFill>
                <a:schemeClr val="bg1"/>
              </a:solidFill>
            </p:grpSpPr>
            <p:sp>
              <p:nvSpPr>
                <p:cNvPr id="59" name="Freeform 29">
                  <a:extLst>
                    <a:ext uri="{FF2B5EF4-FFF2-40B4-BE49-F238E27FC236}">
                      <a16:creationId xmlns:a16="http://schemas.microsoft.com/office/drawing/2014/main" id="{75DE5BE0-BFF1-A8D7-AB8D-438C6DF0F4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38625" y="4713288"/>
                  <a:ext cx="579438" cy="574675"/>
                </a:xfrm>
                <a:custGeom>
                  <a:avLst/>
                  <a:gdLst>
                    <a:gd name="T0" fmla="*/ 1792 w 1934"/>
                    <a:gd name="T1" fmla="*/ 769 h 1921"/>
                    <a:gd name="T2" fmla="*/ 1856 w 1934"/>
                    <a:gd name="T3" fmla="*/ 641 h 1921"/>
                    <a:gd name="T4" fmla="*/ 1920 w 1934"/>
                    <a:gd name="T5" fmla="*/ 449 h 1921"/>
                    <a:gd name="T6" fmla="*/ 947 w 1934"/>
                    <a:gd name="T7" fmla="*/ 4 h 1921"/>
                    <a:gd name="T8" fmla="*/ 0 w 1934"/>
                    <a:gd name="T9" fmla="*/ 609 h 1921"/>
                    <a:gd name="T10" fmla="*/ 64 w 1934"/>
                    <a:gd name="T11" fmla="*/ 737 h 1921"/>
                    <a:gd name="T12" fmla="*/ 128 w 1934"/>
                    <a:gd name="T13" fmla="*/ 865 h 1921"/>
                    <a:gd name="T14" fmla="*/ 192 w 1934"/>
                    <a:gd name="T15" fmla="*/ 1409 h 1921"/>
                    <a:gd name="T16" fmla="*/ 128 w 1934"/>
                    <a:gd name="T17" fmla="*/ 1537 h 1921"/>
                    <a:gd name="T18" fmla="*/ 64 w 1934"/>
                    <a:gd name="T19" fmla="*/ 1665 h 1921"/>
                    <a:gd name="T20" fmla="*/ 0 w 1934"/>
                    <a:gd name="T21" fmla="*/ 1825 h 1921"/>
                    <a:gd name="T22" fmla="*/ 1920 w 1934"/>
                    <a:gd name="T23" fmla="*/ 1825 h 1921"/>
                    <a:gd name="T24" fmla="*/ 1856 w 1934"/>
                    <a:gd name="T25" fmla="*/ 1665 h 1921"/>
                    <a:gd name="T26" fmla="*/ 1910 w 1934"/>
                    <a:gd name="T27" fmla="*/ 1259 h 1921"/>
                    <a:gd name="T28" fmla="*/ 1760 w 1934"/>
                    <a:gd name="T29" fmla="*/ 897 h 1921"/>
                    <a:gd name="T30" fmla="*/ 1472 w 1934"/>
                    <a:gd name="T31" fmla="*/ 769 h 1921"/>
                    <a:gd name="T32" fmla="*/ 1152 w 1934"/>
                    <a:gd name="T33" fmla="*/ 1345 h 1921"/>
                    <a:gd name="T34" fmla="*/ 1152 w 1934"/>
                    <a:gd name="T35" fmla="*/ 1441 h 1921"/>
                    <a:gd name="T36" fmla="*/ 1088 w 1934"/>
                    <a:gd name="T37" fmla="*/ 897 h 1921"/>
                    <a:gd name="T38" fmla="*/ 1152 w 1934"/>
                    <a:gd name="T39" fmla="*/ 769 h 1921"/>
                    <a:gd name="T40" fmla="*/ 1440 w 1934"/>
                    <a:gd name="T41" fmla="*/ 897 h 1921"/>
                    <a:gd name="T42" fmla="*/ 1152 w 1934"/>
                    <a:gd name="T43" fmla="*/ 1345 h 1921"/>
                    <a:gd name="T44" fmla="*/ 480 w 1934"/>
                    <a:gd name="T45" fmla="*/ 1409 h 1921"/>
                    <a:gd name="T46" fmla="*/ 480 w 1934"/>
                    <a:gd name="T47" fmla="*/ 897 h 1921"/>
                    <a:gd name="T48" fmla="*/ 768 w 1934"/>
                    <a:gd name="T49" fmla="*/ 769 h 1921"/>
                    <a:gd name="T50" fmla="*/ 832 w 1934"/>
                    <a:gd name="T51" fmla="*/ 897 h 1921"/>
                    <a:gd name="T52" fmla="*/ 768 w 1934"/>
                    <a:gd name="T53" fmla="*/ 1441 h 1921"/>
                    <a:gd name="T54" fmla="*/ 1024 w 1934"/>
                    <a:gd name="T55" fmla="*/ 1409 h 1921"/>
                    <a:gd name="T56" fmla="*/ 1024 w 1934"/>
                    <a:gd name="T57" fmla="*/ 897 h 1921"/>
                    <a:gd name="T58" fmla="*/ 832 w 1934"/>
                    <a:gd name="T59" fmla="*/ 769 h 1921"/>
                    <a:gd name="T60" fmla="*/ 832 w 1934"/>
                    <a:gd name="T61" fmla="*/ 833 h 1921"/>
                    <a:gd name="T62" fmla="*/ 1088 w 1934"/>
                    <a:gd name="T63" fmla="*/ 1537 h 1921"/>
                    <a:gd name="T64" fmla="*/ 64 w 1934"/>
                    <a:gd name="T65" fmla="*/ 470 h 1921"/>
                    <a:gd name="T66" fmla="*/ 1856 w 1934"/>
                    <a:gd name="T67" fmla="*/ 577 h 1921"/>
                    <a:gd name="T68" fmla="*/ 1792 w 1934"/>
                    <a:gd name="T69" fmla="*/ 641 h 1921"/>
                    <a:gd name="T70" fmla="*/ 128 w 1934"/>
                    <a:gd name="T71" fmla="*/ 641 h 1921"/>
                    <a:gd name="T72" fmla="*/ 448 w 1934"/>
                    <a:gd name="T73" fmla="*/ 833 h 1921"/>
                    <a:gd name="T74" fmla="*/ 448 w 1934"/>
                    <a:gd name="T75" fmla="*/ 769 h 1921"/>
                    <a:gd name="T76" fmla="*/ 384 w 1934"/>
                    <a:gd name="T77" fmla="*/ 1409 h 1921"/>
                    <a:gd name="T78" fmla="*/ 192 w 1934"/>
                    <a:gd name="T79" fmla="*/ 1473 h 1921"/>
                    <a:gd name="T80" fmla="*/ 192 w 1934"/>
                    <a:gd name="T81" fmla="*/ 1537 h 1921"/>
                    <a:gd name="T82" fmla="*/ 1251 w 1934"/>
                    <a:gd name="T83" fmla="*/ 1601 h 1921"/>
                    <a:gd name="T84" fmla="*/ 128 w 1934"/>
                    <a:gd name="T85" fmla="*/ 1601 h 1921"/>
                    <a:gd name="T86" fmla="*/ 96 w 1934"/>
                    <a:gd name="T87" fmla="*/ 1857 h 1921"/>
                    <a:gd name="T88" fmla="*/ 1856 w 1934"/>
                    <a:gd name="T89" fmla="*/ 1729 h 1921"/>
                    <a:gd name="T90" fmla="*/ 1792 w 1934"/>
                    <a:gd name="T91" fmla="*/ 1630 h 1921"/>
                    <a:gd name="T92" fmla="*/ 1856 w 1934"/>
                    <a:gd name="T93" fmla="*/ 1345 h 1921"/>
                    <a:gd name="T94" fmla="*/ 1536 w 1934"/>
                    <a:gd name="T95" fmla="*/ 1025 h 1921"/>
                    <a:gd name="T96" fmla="*/ 1536 w 1934"/>
                    <a:gd name="T97" fmla="*/ 961 h 1921"/>
                    <a:gd name="T98" fmla="*/ 1664 w 1934"/>
                    <a:gd name="T99" fmla="*/ 983 h 19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934" h="1921">
                      <a:moveTo>
                        <a:pt x="1760" y="897"/>
                      </a:moveTo>
                      <a:cubicBezTo>
                        <a:pt x="1778" y="897"/>
                        <a:pt x="1792" y="883"/>
                        <a:pt x="1792" y="865"/>
                      </a:cubicBezTo>
                      <a:cubicBezTo>
                        <a:pt x="1792" y="769"/>
                        <a:pt x="1792" y="769"/>
                        <a:pt x="1792" y="769"/>
                      </a:cubicBezTo>
                      <a:cubicBezTo>
                        <a:pt x="1824" y="769"/>
                        <a:pt x="1824" y="769"/>
                        <a:pt x="1824" y="769"/>
                      </a:cubicBezTo>
                      <a:cubicBezTo>
                        <a:pt x="1842" y="769"/>
                        <a:pt x="1856" y="755"/>
                        <a:pt x="1856" y="737"/>
                      </a:cubicBezTo>
                      <a:cubicBezTo>
                        <a:pt x="1856" y="641"/>
                        <a:pt x="1856" y="641"/>
                        <a:pt x="1856" y="641"/>
                      </a:cubicBezTo>
                      <a:cubicBezTo>
                        <a:pt x="1888" y="641"/>
                        <a:pt x="1888" y="641"/>
                        <a:pt x="1888" y="641"/>
                      </a:cubicBezTo>
                      <a:cubicBezTo>
                        <a:pt x="1906" y="641"/>
                        <a:pt x="1920" y="627"/>
                        <a:pt x="1920" y="609"/>
                      </a:cubicBezTo>
                      <a:cubicBezTo>
                        <a:pt x="1920" y="449"/>
                        <a:pt x="1920" y="449"/>
                        <a:pt x="1920" y="449"/>
                      </a:cubicBezTo>
                      <a:cubicBezTo>
                        <a:pt x="1920" y="436"/>
                        <a:pt x="1913" y="425"/>
                        <a:pt x="1901" y="420"/>
                      </a:cubicBezTo>
                      <a:cubicBezTo>
                        <a:pt x="973" y="4"/>
                        <a:pt x="973" y="4"/>
                        <a:pt x="973" y="4"/>
                      </a:cubicBezTo>
                      <a:cubicBezTo>
                        <a:pt x="965" y="0"/>
                        <a:pt x="955" y="0"/>
                        <a:pt x="947" y="4"/>
                      </a:cubicBezTo>
                      <a:cubicBezTo>
                        <a:pt x="19" y="420"/>
                        <a:pt x="19" y="420"/>
                        <a:pt x="19" y="420"/>
                      </a:cubicBezTo>
                      <a:cubicBezTo>
                        <a:pt x="7" y="425"/>
                        <a:pt x="0" y="436"/>
                        <a:pt x="0" y="449"/>
                      </a:cubicBezTo>
                      <a:cubicBezTo>
                        <a:pt x="0" y="609"/>
                        <a:pt x="0" y="609"/>
                        <a:pt x="0" y="609"/>
                      </a:cubicBezTo>
                      <a:cubicBezTo>
                        <a:pt x="0" y="627"/>
                        <a:pt x="14" y="641"/>
                        <a:pt x="32" y="641"/>
                      </a:cubicBezTo>
                      <a:cubicBezTo>
                        <a:pt x="64" y="641"/>
                        <a:pt x="64" y="641"/>
                        <a:pt x="64" y="641"/>
                      </a:cubicBezTo>
                      <a:cubicBezTo>
                        <a:pt x="64" y="737"/>
                        <a:pt x="64" y="737"/>
                        <a:pt x="64" y="737"/>
                      </a:cubicBezTo>
                      <a:cubicBezTo>
                        <a:pt x="64" y="755"/>
                        <a:pt x="78" y="769"/>
                        <a:pt x="96" y="769"/>
                      </a:cubicBezTo>
                      <a:cubicBezTo>
                        <a:pt x="128" y="769"/>
                        <a:pt x="128" y="769"/>
                        <a:pt x="128" y="769"/>
                      </a:cubicBezTo>
                      <a:cubicBezTo>
                        <a:pt x="128" y="865"/>
                        <a:pt x="128" y="865"/>
                        <a:pt x="128" y="865"/>
                      </a:cubicBezTo>
                      <a:cubicBezTo>
                        <a:pt x="128" y="883"/>
                        <a:pt x="142" y="897"/>
                        <a:pt x="160" y="897"/>
                      </a:cubicBezTo>
                      <a:cubicBezTo>
                        <a:pt x="192" y="897"/>
                        <a:pt x="192" y="897"/>
                        <a:pt x="192" y="897"/>
                      </a:cubicBezTo>
                      <a:cubicBezTo>
                        <a:pt x="192" y="1409"/>
                        <a:pt x="192" y="1409"/>
                        <a:pt x="192" y="1409"/>
                      </a:cubicBezTo>
                      <a:cubicBezTo>
                        <a:pt x="160" y="1409"/>
                        <a:pt x="160" y="1409"/>
                        <a:pt x="160" y="1409"/>
                      </a:cubicBezTo>
                      <a:cubicBezTo>
                        <a:pt x="142" y="1409"/>
                        <a:pt x="128" y="1423"/>
                        <a:pt x="128" y="1441"/>
                      </a:cubicBezTo>
                      <a:cubicBezTo>
                        <a:pt x="128" y="1537"/>
                        <a:pt x="128" y="1537"/>
                        <a:pt x="128" y="1537"/>
                      </a:cubicBezTo>
                      <a:cubicBezTo>
                        <a:pt x="96" y="1537"/>
                        <a:pt x="96" y="1537"/>
                        <a:pt x="96" y="1537"/>
                      </a:cubicBezTo>
                      <a:cubicBezTo>
                        <a:pt x="78" y="1537"/>
                        <a:pt x="64" y="1551"/>
                        <a:pt x="64" y="1569"/>
                      </a:cubicBezTo>
                      <a:cubicBezTo>
                        <a:pt x="64" y="1665"/>
                        <a:pt x="64" y="1665"/>
                        <a:pt x="64" y="1665"/>
                      </a:cubicBezTo>
                      <a:cubicBezTo>
                        <a:pt x="32" y="1665"/>
                        <a:pt x="32" y="1665"/>
                        <a:pt x="32" y="1665"/>
                      </a:cubicBezTo>
                      <a:cubicBezTo>
                        <a:pt x="14" y="1665"/>
                        <a:pt x="0" y="1679"/>
                        <a:pt x="0" y="1697"/>
                      </a:cubicBezTo>
                      <a:cubicBezTo>
                        <a:pt x="0" y="1825"/>
                        <a:pt x="0" y="1825"/>
                        <a:pt x="0" y="1825"/>
                      </a:cubicBezTo>
                      <a:cubicBezTo>
                        <a:pt x="0" y="1878"/>
                        <a:pt x="43" y="1921"/>
                        <a:pt x="96" y="1921"/>
                      </a:cubicBezTo>
                      <a:cubicBezTo>
                        <a:pt x="1824" y="1921"/>
                        <a:pt x="1824" y="1921"/>
                        <a:pt x="1824" y="1921"/>
                      </a:cubicBezTo>
                      <a:cubicBezTo>
                        <a:pt x="1877" y="1921"/>
                        <a:pt x="1920" y="1878"/>
                        <a:pt x="1920" y="1825"/>
                      </a:cubicBezTo>
                      <a:cubicBezTo>
                        <a:pt x="1920" y="1697"/>
                        <a:pt x="1920" y="1697"/>
                        <a:pt x="1920" y="1697"/>
                      </a:cubicBezTo>
                      <a:cubicBezTo>
                        <a:pt x="1920" y="1679"/>
                        <a:pt x="1906" y="1665"/>
                        <a:pt x="1888" y="1665"/>
                      </a:cubicBezTo>
                      <a:cubicBezTo>
                        <a:pt x="1856" y="1665"/>
                        <a:pt x="1856" y="1665"/>
                        <a:pt x="1856" y="1665"/>
                      </a:cubicBezTo>
                      <a:cubicBezTo>
                        <a:pt x="1856" y="1569"/>
                        <a:pt x="1856" y="1569"/>
                        <a:pt x="1856" y="1569"/>
                      </a:cubicBezTo>
                      <a:cubicBezTo>
                        <a:pt x="1856" y="1566"/>
                        <a:pt x="1855" y="1563"/>
                        <a:pt x="1854" y="1560"/>
                      </a:cubicBezTo>
                      <a:cubicBezTo>
                        <a:pt x="1914" y="1472"/>
                        <a:pt x="1934" y="1363"/>
                        <a:pt x="1910" y="1259"/>
                      </a:cubicBezTo>
                      <a:cubicBezTo>
                        <a:pt x="1886" y="1155"/>
                        <a:pt x="1820" y="1066"/>
                        <a:pt x="1728" y="1013"/>
                      </a:cubicBezTo>
                      <a:cubicBezTo>
                        <a:pt x="1728" y="897"/>
                        <a:pt x="1728" y="897"/>
                        <a:pt x="1728" y="897"/>
                      </a:cubicBezTo>
                      <a:lnTo>
                        <a:pt x="1760" y="897"/>
                      </a:lnTo>
                      <a:close/>
                      <a:moveTo>
                        <a:pt x="1728" y="833"/>
                      </a:moveTo>
                      <a:cubicBezTo>
                        <a:pt x="1472" y="833"/>
                        <a:pt x="1472" y="833"/>
                        <a:pt x="1472" y="833"/>
                      </a:cubicBezTo>
                      <a:cubicBezTo>
                        <a:pt x="1472" y="769"/>
                        <a:pt x="1472" y="769"/>
                        <a:pt x="1472" y="769"/>
                      </a:cubicBezTo>
                      <a:cubicBezTo>
                        <a:pt x="1728" y="769"/>
                        <a:pt x="1728" y="769"/>
                        <a:pt x="1728" y="769"/>
                      </a:cubicBezTo>
                      <a:lnTo>
                        <a:pt x="1728" y="833"/>
                      </a:lnTo>
                      <a:close/>
                      <a:moveTo>
                        <a:pt x="1152" y="1345"/>
                      </a:moveTo>
                      <a:cubicBezTo>
                        <a:pt x="1152" y="1412"/>
                        <a:pt x="1170" y="1479"/>
                        <a:pt x="1204" y="1537"/>
                      </a:cubicBezTo>
                      <a:cubicBezTo>
                        <a:pt x="1152" y="1537"/>
                        <a:pt x="1152" y="1537"/>
                        <a:pt x="1152" y="1537"/>
                      </a:cubicBezTo>
                      <a:cubicBezTo>
                        <a:pt x="1152" y="1441"/>
                        <a:pt x="1152" y="1441"/>
                        <a:pt x="1152" y="1441"/>
                      </a:cubicBezTo>
                      <a:cubicBezTo>
                        <a:pt x="1152" y="1423"/>
                        <a:pt x="1138" y="1409"/>
                        <a:pt x="1120" y="1409"/>
                      </a:cubicBezTo>
                      <a:cubicBezTo>
                        <a:pt x="1088" y="1409"/>
                        <a:pt x="1088" y="1409"/>
                        <a:pt x="1088" y="1409"/>
                      </a:cubicBezTo>
                      <a:cubicBezTo>
                        <a:pt x="1088" y="897"/>
                        <a:pt x="1088" y="897"/>
                        <a:pt x="1088" y="897"/>
                      </a:cubicBezTo>
                      <a:cubicBezTo>
                        <a:pt x="1120" y="897"/>
                        <a:pt x="1120" y="897"/>
                        <a:pt x="1120" y="897"/>
                      </a:cubicBezTo>
                      <a:cubicBezTo>
                        <a:pt x="1138" y="897"/>
                        <a:pt x="1152" y="883"/>
                        <a:pt x="1152" y="865"/>
                      </a:cubicBezTo>
                      <a:cubicBezTo>
                        <a:pt x="1152" y="769"/>
                        <a:pt x="1152" y="769"/>
                        <a:pt x="1152" y="769"/>
                      </a:cubicBezTo>
                      <a:cubicBezTo>
                        <a:pt x="1408" y="769"/>
                        <a:pt x="1408" y="769"/>
                        <a:pt x="1408" y="769"/>
                      </a:cubicBezTo>
                      <a:cubicBezTo>
                        <a:pt x="1408" y="865"/>
                        <a:pt x="1408" y="865"/>
                        <a:pt x="1408" y="865"/>
                      </a:cubicBezTo>
                      <a:cubicBezTo>
                        <a:pt x="1408" y="883"/>
                        <a:pt x="1422" y="897"/>
                        <a:pt x="1440" y="897"/>
                      </a:cubicBezTo>
                      <a:cubicBezTo>
                        <a:pt x="1472" y="897"/>
                        <a:pt x="1472" y="897"/>
                        <a:pt x="1472" y="897"/>
                      </a:cubicBezTo>
                      <a:cubicBezTo>
                        <a:pt x="1472" y="967"/>
                        <a:pt x="1472" y="967"/>
                        <a:pt x="1472" y="967"/>
                      </a:cubicBezTo>
                      <a:cubicBezTo>
                        <a:pt x="1287" y="998"/>
                        <a:pt x="1152" y="1158"/>
                        <a:pt x="1152" y="1345"/>
                      </a:cubicBezTo>
                      <a:close/>
                      <a:moveTo>
                        <a:pt x="512" y="1537"/>
                      </a:moveTo>
                      <a:cubicBezTo>
                        <a:pt x="512" y="1441"/>
                        <a:pt x="512" y="1441"/>
                        <a:pt x="512" y="1441"/>
                      </a:cubicBezTo>
                      <a:cubicBezTo>
                        <a:pt x="512" y="1423"/>
                        <a:pt x="498" y="1409"/>
                        <a:pt x="480" y="1409"/>
                      </a:cubicBezTo>
                      <a:cubicBezTo>
                        <a:pt x="448" y="1409"/>
                        <a:pt x="448" y="1409"/>
                        <a:pt x="448" y="1409"/>
                      </a:cubicBezTo>
                      <a:cubicBezTo>
                        <a:pt x="448" y="897"/>
                        <a:pt x="448" y="897"/>
                        <a:pt x="448" y="897"/>
                      </a:cubicBezTo>
                      <a:cubicBezTo>
                        <a:pt x="480" y="897"/>
                        <a:pt x="480" y="897"/>
                        <a:pt x="480" y="897"/>
                      </a:cubicBezTo>
                      <a:cubicBezTo>
                        <a:pt x="498" y="897"/>
                        <a:pt x="512" y="883"/>
                        <a:pt x="512" y="865"/>
                      </a:cubicBezTo>
                      <a:cubicBezTo>
                        <a:pt x="512" y="769"/>
                        <a:pt x="512" y="769"/>
                        <a:pt x="512" y="769"/>
                      </a:cubicBezTo>
                      <a:cubicBezTo>
                        <a:pt x="768" y="769"/>
                        <a:pt x="768" y="769"/>
                        <a:pt x="768" y="769"/>
                      </a:cubicBezTo>
                      <a:cubicBezTo>
                        <a:pt x="768" y="865"/>
                        <a:pt x="768" y="865"/>
                        <a:pt x="768" y="865"/>
                      </a:cubicBezTo>
                      <a:cubicBezTo>
                        <a:pt x="768" y="883"/>
                        <a:pt x="782" y="897"/>
                        <a:pt x="800" y="897"/>
                      </a:cubicBezTo>
                      <a:cubicBezTo>
                        <a:pt x="832" y="897"/>
                        <a:pt x="832" y="897"/>
                        <a:pt x="832" y="897"/>
                      </a:cubicBezTo>
                      <a:cubicBezTo>
                        <a:pt x="832" y="1409"/>
                        <a:pt x="832" y="1409"/>
                        <a:pt x="832" y="1409"/>
                      </a:cubicBezTo>
                      <a:cubicBezTo>
                        <a:pt x="800" y="1409"/>
                        <a:pt x="800" y="1409"/>
                        <a:pt x="800" y="1409"/>
                      </a:cubicBezTo>
                      <a:cubicBezTo>
                        <a:pt x="782" y="1409"/>
                        <a:pt x="768" y="1423"/>
                        <a:pt x="768" y="1441"/>
                      </a:cubicBezTo>
                      <a:cubicBezTo>
                        <a:pt x="768" y="1537"/>
                        <a:pt x="768" y="1537"/>
                        <a:pt x="768" y="1537"/>
                      </a:cubicBezTo>
                      <a:lnTo>
                        <a:pt x="512" y="1537"/>
                      </a:lnTo>
                      <a:close/>
                      <a:moveTo>
                        <a:pt x="1024" y="1409"/>
                      </a:moveTo>
                      <a:cubicBezTo>
                        <a:pt x="896" y="1409"/>
                        <a:pt x="896" y="1409"/>
                        <a:pt x="896" y="1409"/>
                      </a:cubicBezTo>
                      <a:cubicBezTo>
                        <a:pt x="896" y="897"/>
                        <a:pt x="896" y="897"/>
                        <a:pt x="896" y="897"/>
                      </a:cubicBezTo>
                      <a:cubicBezTo>
                        <a:pt x="1024" y="897"/>
                        <a:pt x="1024" y="897"/>
                        <a:pt x="1024" y="897"/>
                      </a:cubicBezTo>
                      <a:lnTo>
                        <a:pt x="1024" y="1409"/>
                      </a:lnTo>
                      <a:close/>
                      <a:moveTo>
                        <a:pt x="832" y="833"/>
                      </a:moveTo>
                      <a:cubicBezTo>
                        <a:pt x="832" y="769"/>
                        <a:pt x="832" y="769"/>
                        <a:pt x="832" y="769"/>
                      </a:cubicBezTo>
                      <a:cubicBezTo>
                        <a:pt x="1088" y="769"/>
                        <a:pt x="1088" y="769"/>
                        <a:pt x="1088" y="769"/>
                      </a:cubicBezTo>
                      <a:cubicBezTo>
                        <a:pt x="1088" y="833"/>
                        <a:pt x="1088" y="833"/>
                        <a:pt x="1088" y="833"/>
                      </a:cubicBezTo>
                      <a:lnTo>
                        <a:pt x="832" y="833"/>
                      </a:lnTo>
                      <a:close/>
                      <a:moveTo>
                        <a:pt x="832" y="1473"/>
                      </a:moveTo>
                      <a:cubicBezTo>
                        <a:pt x="1088" y="1473"/>
                        <a:pt x="1088" y="1473"/>
                        <a:pt x="1088" y="1473"/>
                      </a:cubicBezTo>
                      <a:cubicBezTo>
                        <a:pt x="1088" y="1537"/>
                        <a:pt x="1088" y="1537"/>
                        <a:pt x="1088" y="1537"/>
                      </a:cubicBezTo>
                      <a:cubicBezTo>
                        <a:pt x="832" y="1537"/>
                        <a:pt x="832" y="1537"/>
                        <a:pt x="832" y="1537"/>
                      </a:cubicBezTo>
                      <a:lnTo>
                        <a:pt x="832" y="1473"/>
                      </a:lnTo>
                      <a:close/>
                      <a:moveTo>
                        <a:pt x="64" y="470"/>
                      </a:moveTo>
                      <a:cubicBezTo>
                        <a:pt x="960" y="68"/>
                        <a:pt x="960" y="68"/>
                        <a:pt x="960" y="68"/>
                      </a:cubicBezTo>
                      <a:cubicBezTo>
                        <a:pt x="1856" y="470"/>
                        <a:pt x="1856" y="470"/>
                        <a:pt x="1856" y="470"/>
                      </a:cubicBezTo>
                      <a:cubicBezTo>
                        <a:pt x="1856" y="577"/>
                        <a:pt x="1856" y="577"/>
                        <a:pt x="1856" y="577"/>
                      </a:cubicBezTo>
                      <a:cubicBezTo>
                        <a:pt x="64" y="577"/>
                        <a:pt x="64" y="577"/>
                        <a:pt x="64" y="577"/>
                      </a:cubicBezTo>
                      <a:lnTo>
                        <a:pt x="64" y="470"/>
                      </a:lnTo>
                      <a:close/>
                      <a:moveTo>
                        <a:pt x="1792" y="641"/>
                      </a:moveTo>
                      <a:cubicBezTo>
                        <a:pt x="1792" y="705"/>
                        <a:pt x="1792" y="705"/>
                        <a:pt x="1792" y="705"/>
                      </a:cubicBezTo>
                      <a:cubicBezTo>
                        <a:pt x="128" y="705"/>
                        <a:pt x="128" y="705"/>
                        <a:pt x="128" y="705"/>
                      </a:cubicBezTo>
                      <a:cubicBezTo>
                        <a:pt x="128" y="641"/>
                        <a:pt x="128" y="641"/>
                        <a:pt x="128" y="641"/>
                      </a:cubicBezTo>
                      <a:lnTo>
                        <a:pt x="1792" y="641"/>
                      </a:lnTo>
                      <a:close/>
                      <a:moveTo>
                        <a:pt x="448" y="769"/>
                      </a:moveTo>
                      <a:cubicBezTo>
                        <a:pt x="448" y="833"/>
                        <a:pt x="448" y="833"/>
                        <a:pt x="448" y="833"/>
                      </a:cubicBezTo>
                      <a:cubicBezTo>
                        <a:pt x="192" y="833"/>
                        <a:pt x="192" y="833"/>
                        <a:pt x="192" y="833"/>
                      </a:cubicBezTo>
                      <a:cubicBezTo>
                        <a:pt x="192" y="769"/>
                        <a:pt x="192" y="769"/>
                        <a:pt x="192" y="769"/>
                      </a:cubicBezTo>
                      <a:lnTo>
                        <a:pt x="448" y="769"/>
                      </a:lnTo>
                      <a:close/>
                      <a:moveTo>
                        <a:pt x="256" y="897"/>
                      </a:moveTo>
                      <a:cubicBezTo>
                        <a:pt x="384" y="897"/>
                        <a:pt x="384" y="897"/>
                        <a:pt x="384" y="897"/>
                      </a:cubicBezTo>
                      <a:cubicBezTo>
                        <a:pt x="384" y="1409"/>
                        <a:pt x="384" y="1409"/>
                        <a:pt x="384" y="1409"/>
                      </a:cubicBezTo>
                      <a:cubicBezTo>
                        <a:pt x="256" y="1409"/>
                        <a:pt x="256" y="1409"/>
                        <a:pt x="256" y="1409"/>
                      </a:cubicBezTo>
                      <a:lnTo>
                        <a:pt x="256" y="897"/>
                      </a:lnTo>
                      <a:close/>
                      <a:moveTo>
                        <a:pt x="192" y="1473"/>
                      </a:moveTo>
                      <a:cubicBezTo>
                        <a:pt x="448" y="1473"/>
                        <a:pt x="448" y="1473"/>
                        <a:pt x="448" y="1473"/>
                      </a:cubicBezTo>
                      <a:cubicBezTo>
                        <a:pt x="448" y="1537"/>
                        <a:pt x="448" y="1537"/>
                        <a:pt x="448" y="1537"/>
                      </a:cubicBezTo>
                      <a:cubicBezTo>
                        <a:pt x="192" y="1537"/>
                        <a:pt x="192" y="1537"/>
                        <a:pt x="192" y="1537"/>
                      </a:cubicBezTo>
                      <a:lnTo>
                        <a:pt x="192" y="1473"/>
                      </a:lnTo>
                      <a:close/>
                      <a:moveTo>
                        <a:pt x="128" y="1601"/>
                      </a:moveTo>
                      <a:cubicBezTo>
                        <a:pt x="1251" y="1601"/>
                        <a:pt x="1251" y="1601"/>
                        <a:pt x="1251" y="1601"/>
                      </a:cubicBezTo>
                      <a:cubicBezTo>
                        <a:pt x="1272" y="1625"/>
                        <a:pt x="1297" y="1647"/>
                        <a:pt x="1324" y="1665"/>
                      </a:cubicBezTo>
                      <a:cubicBezTo>
                        <a:pt x="128" y="1665"/>
                        <a:pt x="128" y="1665"/>
                        <a:pt x="128" y="1665"/>
                      </a:cubicBezTo>
                      <a:lnTo>
                        <a:pt x="128" y="1601"/>
                      </a:lnTo>
                      <a:close/>
                      <a:moveTo>
                        <a:pt x="1856" y="1825"/>
                      </a:moveTo>
                      <a:cubicBezTo>
                        <a:pt x="1856" y="1843"/>
                        <a:pt x="1842" y="1857"/>
                        <a:pt x="1824" y="1857"/>
                      </a:cubicBezTo>
                      <a:cubicBezTo>
                        <a:pt x="96" y="1857"/>
                        <a:pt x="96" y="1857"/>
                        <a:pt x="96" y="1857"/>
                      </a:cubicBezTo>
                      <a:cubicBezTo>
                        <a:pt x="78" y="1857"/>
                        <a:pt x="64" y="1843"/>
                        <a:pt x="64" y="1825"/>
                      </a:cubicBezTo>
                      <a:cubicBezTo>
                        <a:pt x="64" y="1729"/>
                        <a:pt x="64" y="1729"/>
                        <a:pt x="64" y="1729"/>
                      </a:cubicBezTo>
                      <a:cubicBezTo>
                        <a:pt x="1856" y="1729"/>
                        <a:pt x="1856" y="1729"/>
                        <a:pt x="1856" y="1729"/>
                      </a:cubicBezTo>
                      <a:lnTo>
                        <a:pt x="1856" y="1825"/>
                      </a:lnTo>
                      <a:close/>
                      <a:moveTo>
                        <a:pt x="1748" y="1665"/>
                      </a:moveTo>
                      <a:cubicBezTo>
                        <a:pt x="1763" y="1655"/>
                        <a:pt x="1778" y="1643"/>
                        <a:pt x="1792" y="1630"/>
                      </a:cubicBezTo>
                      <a:cubicBezTo>
                        <a:pt x="1792" y="1665"/>
                        <a:pt x="1792" y="1665"/>
                        <a:pt x="1792" y="1665"/>
                      </a:cubicBezTo>
                      <a:lnTo>
                        <a:pt x="1748" y="1665"/>
                      </a:lnTo>
                      <a:close/>
                      <a:moveTo>
                        <a:pt x="1856" y="1345"/>
                      </a:moveTo>
                      <a:cubicBezTo>
                        <a:pt x="1856" y="1522"/>
                        <a:pt x="1713" y="1665"/>
                        <a:pt x="1536" y="1665"/>
                      </a:cubicBezTo>
                      <a:cubicBezTo>
                        <a:pt x="1359" y="1665"/>
                        <a:pt x="1216" y="1522"/>
                        <a:pt x="1216" y="1345"/>
                      </a:cubicBezTo>
                      <a:cubicBezTo>
                        <a:pt x="1216" y="1168"/>
                        <a:pt x="1359" y="1025"/>
                        <a:pt x="1536" y="1025"/>
                      </a:cubicBezTo>
                      <a:cubicBezTo>
                        <a:pt x="1713" y="1025"/>
                        <a:pt x="1856" y="1168"/>
                        <a:pt x="1856" y="1345"/>
                      </a:cubicBezTo>
                      <a:close/>
                      <a:moveTo>
                        <a:pt x="1664" y="983"/>
                      </a:moveTo>
                      <a:cubicBezTo>
                        <a:pt x="1623" y="969"/>
                        <a:pt x="1580" y="961"/>
                        <a:pt x="1536" y="961"/>
                      </a:cubicBezTo>
                      <a:cubicBezTo>
                        <a:pt x="1536" y="897"/>
                        <a:pt x="1536" y="897"/>
                        <a:pt x="1536" y="897"/>
                      </a:cubicBezTo>
                      <a:cubicBezTo>
                        <a:pt x="1664" y="897"/>
                        <a:pt x="1664" y="897"/>
                        <a:pt x="1664" y="897"/>
                      </a:cubicBezTo>
                      <a:lnTo>
                        <a:pt x="1664" y="98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60" name="Freeform 30">
                  <a:extLst>
                    <a:ext uri="{FF2B5EF4-FFF2-40B4-BE49-F238E27FC236}">
                      <a16:creationId xmlns:a16="http://schemas.microsoft.com/office/drawing/2014/main" id="{D9BC9F92-2510-45F2-C5BA-CE63754979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11688" y="5029201"/>
                  <a:ext cx="173038" cy="173038"/>
                </a:xfrm>
                <a:custGeom>
                  <a:avLst/>
                  <a:gdLst>
                    <a:gd name="T0" fmla="*/ 0 w 576"/>
                    <a:gd name="T1" fmla="*/ 288 h 576"/>
                    <a:gd name="T2" fmla="*/ 288 w 576"/>
                    <a:gd name="T3" fmla="*/ 576 h 576"/>
                    <a:gd name="T4" fmla="*/ 576 w 576"/>
                    <a:gd name="T5" fmla="*/ 288 h 576"/>
                    <a:gd name="T6" fmla="*/ 288 w 576"/>
                    <a:gd name="T7" fmla="*/ 0 h 576"/>
                    <a:gd name="T8" fmla="*/ 0 w 576"/>
                    <a:gd name="T9" fmla="*/ 288 h 576"/>
                    <a:gd name="T10" fmla="*/ 512 w 576"/>
                    <a:gd name="T11" fmla="*/ 288 h 576"/>
                    <a:gd name="T12" fmla="*/ 288 w 576"/>
                    <a:gd name="T13" fmla="*/ 512 h 576"/>
                    <a:gd name="T14" fmla="*/ 64 w 576"/>
                    <a:gd name="T15" fmla="*/ 288 h 576"/>
                    <a:gd name="T16" fmla="*/ 288 w 576"/>
                    <a:gd name="T17" fmla="*/ 64 h 576"/>
                    <a:gd name="T18" fmla="*/ 512 w 576"/>
                    <a:gd name="T19" fmla="*/ 288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76" h="576">
                      <a:moveTo>
                        <a:pt x="0" y="288"/>
                      </a:moveTo>
                      <a:cubicBezTo>
                        <a:pt x="0" y="447"/>
                        <a:pt x="129" y="576"/>
                        <a:pt x="288" y="576"/>
                      </a:cubicBezTo>
                      <a:cubicBezTo>
                        <a:pt x="447" y="576"/>
                        <a:pt x="576" y="447"/>
                        <a:pt x="576" y="288"/>
                      </a:cubicBezTo>
                      <a:cubicBezTo>
                        <a:pt x="576" y="129"/>
                        <a:pt x="447" y="0"/>
                        <a:pt x="288" y="0"/>
                      </a:cubicBezTo>
                      <a:cubicBezTo>
                        <a:pt x="129" y="0"/>
                        <a:pt x="0" y="129"/>
                        <a:pt x="0" y="288"/>
                      </a:cubicBezTo>
                      <a:close/>
                      <a:moveTo>
                        <a:pt x="512" y="288"/>
                      </a:moveTo>
                      <a:cubicBezTo>
                        <a:pt x="512" y="412"/>
                        <a:pt x="412" y="512"/>
                        <a:pt x="288" y="512"/>
                      </a:cubicBezTo>
                      <a:cubicBezTo>
                        <a:pt x="164" y="512"/>
                        <a:pt x="64" y="412"/>
                        <a:pt x="64" y="288"/>
                      </a:cubicBezTo>
                      <a:cubicBezTo>
                        <a:pt x="64" y="164"/>
                        <a:pt x="164" y="64"/>
                        <a:pt x="288" y="64"/>
                      </a:cubicBezTo>
                      <a:cubicBezTo>
                        <a:pt x="412" y="64"/>
                        <a:pt x="512" y="164"/>
                        <a:pt x="512" y="28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62" name="Freeform 31">
                  <a:extLst>
                    <a:ext uri="{FF2B5EF4-FFF2-40B4-BE49-F238E27FC236}">
                      <a16:creationId xmlns:a16="http://schemas.microsoft.com/office/drawing/2014/main" id="{0D75AB42-9821-D041-D1BB-7A1577D0117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59313" y="5057776"/>
                  <a:ext cx="77788" cy="115888"/>
                </a:xfrm>
                <a:custGeom>
                  <a:avLst/>
                  <a:gdLst>
                    <a:gd name="T0" fmla="*/ 96 w 256"/>
                    <a:gd name="T1" fmla="*/ 0 h 384"/>
                    <a:gd name="T2" fmla="*/ 96 w 256"/>
                    <a:gd name="T3" fmla="*/ 32 h 384"/>
                    <a:gd name="T4" fmla="*/ 0 w 256"/>
                    <a:gd name="T5" fmla="*/ 128 h 384"/>
                    <a:gd name="T6" fmla="*/ 96 w 256"/>
                    <a:gd name="T7" fmla="*/ 224 h 384"/>
                    <a:gd name="T8" fmla="*/ 96 w 256"/>
                    <a:gd name="T9" fmla="*/ 288 h 384"/>
                    <a:gd name="T10" fmla="*/ 64 w 256"/>
                    <a:gd name="T11" fmla="*/ 256 h 384"/>
                    <a:gd name="T12" fmla="*/ 0 w 256"/>
                    <a:gd name="T13" fmla="*/ 256 h 384"/>
                    <a:gd name="T14" fmla="*/ 96 w 256"/>
                    <a:gd name="T15" fmla="*/ 352 h 384"/>
                    <a:gd name="T16" fmla="*/ 96 w 256"/>
                    <a:gd name="T17" fmla="*/ 384 h 384"/>
                    <a:gd name="T18" fmla="*/ 160 w 256"/>
                    <a:gd name="T19" fmla="*/ 384 h 384"/>
                    <a:gd name="T20" fmla="*/ 160 w 256"/>
                    <a:gd name="T21" fmla="*/ 352 h 384"/>
                    <a:gd name="T22" fmla="*/ 256 w 256"/>
                    <a:gd name="T23" fmla="*/ 256 h 384"/>
                    <a:gd name="T24" fmla="*/ 160 w 256"/>
                    <a:gd name="T25" fmla="*/ 160 h 384"/>
                    <a:gd name="T26" fmla="*/ 160 w 256"/>
                    <a:gd name="T27" fmla="*/ 96 h 384"/>
                    <a:gd name="T28" fmla="*/ 192 w 256"/>
                    <a:gd name="T29" fmla="*/ 128 h 384"/>
                    <a:gd name="T30" fmla="*/ 256 w 256"/>
                    <a:gd name="T31" fmla="*/ 128 h 384"/>
                    <a:gd name="T32" fmla="*/ 160 w 256"/>
                    <a:gd name="T33" fmla="*/ 32 h 384"/>
                    <a:gd name="T34" fmla="*/ 160 w 256"/>
                    <a:gd name="T35" fmla="*/ 0 h 384"/>
                    <a:gd name="T36" fmla="*/ 96 w 256"/>
                    <a:gd name="T37" fmla="*/ 0 h 384"/>
                    <a:gd name="T38" fmla="*/ 192 w 256"/>
                    <a:gd name="T39" fmla="*/ 256 h 384"/>
                    <a:gd name="T40" fmla="*/ 160 w 256"/>
                    <a:gd name="T41" fmla="*/ 288 h 384"/>
                    <a:gd name="T42" fmla="*/ 160 w 256"/>
                    <a:gd name="T43" fmla="*/ 224 h 384"/>
                    <a:gd name="T44" fmla="*/ 192 w 256"/>
                    <a:gd name="T45" fmla="*/ 256 h 384"/>
                    <a:gd name="T46" fmla="*/ 96 w 256"/>
                    <a:gd name="T47" fmla="*/ 160 h 384"/>
                    <a:gd name="T48" fmla="*/ 64 w 256"/>
                    <a:gd name="T49" fmla="*/ 128 h 384"/>
                    <a:gd name="T50" fmla="*/ 96 w 256"/>
                    <a:gd name="T51" fmla="*/ 96 h 384"/>
                    <a:gd name="T52" fmla="*/ 96 w 256"/>
                    <a:gd name="T53" fmla="*/ 16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56" h="384">
                      <a:moveTo>
                        <a:pt x="96" y="0"/>
                      </a:moveTo>
                      <a:cubicBezTo>
                        <a:pt x="96" y="32"/>
                        <a:pt x="96" y="32"/>
                        <a:pt x="96" y="32"/>
                      </a:cubicBezTo>
                      <a:cubicBezTo>
                        <a:pt x="43" y="32"/>
                        <a:pt x="0" y="75"/>
                        <a:pt x="0" y="128"/>
                      </a:cubicBezTo>
                      <a:cubicBezTo>
                        <a:pt x="0" y="181"/>
                        <a:pt x="43" y="224"/>
                        <a:pt x="96" y="224"/>
                      </a:cubicBezTo>
                      <a:cubicBezTo>
                        <a:pt x="96" y="288"/>
                        <a:pt x="96" y="288"/>
                        <a:pt x="96" y="288"/>
                      </a:cubicBezTo>
                      <a:cubicBezTo>
                        <a:pt x="78" y="288"/>
                        <a:pt x="64" y="274"/>
                        <a:pt x="64" y="256"/>
                      </a:cubicBezTo>
                      <a:cubicBezTo>
                        <a:pt x="0" y="256"/>
                        <a:pt x="0" y="256"/>
                        <a:pt x="0" y="256"/>
                      </a:cubicBezTo>
                      <a:cubicBezTo>
                        <a:pt x="0" y="309"/>
                        <a:pt x="43" y="352"/>
                        <a:pt x="96" y="352"/>
                      </a:cubicBezTo>
                      <a:cubicBezTo>
                        <a:pt x="96" y="384"/>
                        <a:pt x="96" y="384"/>
                        <a:pt x="96" y="384"/>
                      </a:cubicBezTo>
                      <a:cubicBezTo>
                        <a:pt x="160" y="384"/>
                        <a:pt x="160" y="384"/>
                        <a:pt x="160" y="384"/>
                      </a:cubicBezTo>
                      <a:cubicBezTo>
                        <a:pt x="160" y="352"/>
                        <a:pt x="160" y="352"/>
                        <a:pt x="160" y="352"/>
                      </a:cubicBezTo>
                      <a:cubicBezTo>
                        <a:pt x="213" y="352"/>
                        <a:pt x="256" y="309"/>
                        <a:pt x="256" y="256"/>
                      </a:cubicBezTo>
                      <a:cubicBezTo>
                        <a:pt x="256" y="203"/>
                        <a:pt x="213" y="160"/>
                        <a:pt x="160" y="160"/>
                      </a:cubicBezTo>
                      <a:cubicBezTo>
                        <a:pt x="160" y="96"/>
                        <a:pt x="160" y="96"/>
                        <a:pt x="160" y="96"/>
                      </a:cubicBezTo>
                      <a:cubicBezTo>
                        <a:pt x="178" y="96"/>
                        <a:pt x="192" y="110"/>
                        <a:pt x="192" y="128"/>
                      </a:cubicBezTo>
                      <a:cubicBezTo>
                        <a:pt x="256" y="128"/>
                        <a:pt x="256" y="128"/>
                        <a:pt x="256" y="128"/>
                      </a:cubicBezTo>
                      <a:cubicBezTo>
                        <a:pt x="256" y="75"/>
                        <a:pt x="213" y="32"/>
                        <a:pt x="160" y="32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lnTo>
                        <a:pt x="96" y="0"/>
                      </a:lnTo>
                      <a:close/>
                      <a:moveTo>
                        <a:pt x="192" y="256"/>
                      </a:moveTo>
                      <a:cubicBezTo>
                        <a:pt x="192" y="274"/>
                        <a:pt x="178" y="288"/>
                        <a:pt x="160" y="288"/>
                      </a:cubicBezTo>
                      <a:cubicBezTo>
                        <a:pt x="160" y="224"/>
                        <a:pt x="160" y="224"/>
                        <a:pt x="160" y="224"/>
                      </a:cubicBezTo>
                      <a:cubicBezTo>
                        <a:pt x="178" y="224"/>
                        <a:pt x="192" y="238"/>
                        <a:pt x="192" y="256"/>
                      </a:cubicBezTo>
                      <a:close/>
                      <a:moveTo>
                        <a:pt x="96" y="160"/>
                      </a:moveTo>
                      <a:cubicBezTo>
                        <a:pt x="78" y="160"/>
                        <a:pt x="64" y="146"/>
                        <a:pt x="64" y="128"/>
                      </a:cubicBezTo>
                      <a:cubicBezTo>
                        <a:pt x="64" y="110"/>
                        <a:pt x="78" y="96"/>
                        <a:pt x="96" y="96"/>
                      </a:cubicBezTo>
                      <a:lnTo>
                        <a:pt x="96" y="1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63" name="Freeform 32">
                  <a:extLst>
                    <a:ext uri="{FF2B5EF4-FFF2-40B4-BE49-F238E27FC236}">
                      <a16:creationId xmlns:a16="http://schemas.microsoft.com/office/drawing/2014/main" id="{0AABD95A-7FA3-A39D-B1E6-12F3538A9E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78338" y="4770438"/>
                  <a:ext cx="95250" cy="96838"/>
                </a:xfrm>
                <a:custGeom>
                  <a:avLst/>
                  <a:gdLst>
                    <a:gd name="T0" fmla="*/ 160 w 320"/>
                    <a:gd name="T1" fmla="*/ 320 h 320"/>
                    <a:gd name="T2" fmla="*/ 320 w 320"/>
                    <a:gd name="T3" fmla="*/ 160 h 320"/>
                    <a:gd name="T4" fmla="*/ 160 w 320"/>
                    <a:gd name="T5" fmla="*/ 0 h 320"/>
                    <a:gd name="T6" fmla="*/ 0 w 320"/>
                    <a:gd name="T7" fmla="*/ 160 h 320"/>
                    <a:gd name="T8" fmla="*/ 160 w 320"/>
                    <a:gd name="T9" fmla="*/ 320 h 320"/>
                    <a:gd name="T10" fmla="*/ 160 w 320"/>
                    <a:gd name="T11" fmla="*/ 64 h 320"/>
                    <a:gd name="T12" fmla="*/ 256 w 320"/>
                    <a:gd name="T13" fmla="*/ 160 h 320"/>
                    <a:gd name="T14" fmla="*/ 160 w 320"/>
                    <a:gd name="T15" fmla="*/ 256 h 320"/>
                    <a:gd name="T16" fmla="*/ 64 w 320"/>
                    <a:gd name="T17" fmla="*/ 160 h 320"/>
                    <a:gd name="T18" fmla="*/ 160 w 320"/>
                    <a:gd name="T19" fmla="*/ 64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20" h="320">
                      <a:moveTo>
                        <a:pt x="160" y="320"/>
                      </a:moveTo>
                      <a:cubicBezTo>
                        <a:pt x="248" y="320"/>
                        <a:pt x="320" y="248"/>
                        <a:pt x="320" y="160"/>
                      </a:cubicBezTo>
                      <a:cubicBezTo>
                        <a:pt x="320" y="72"/>
                        <a:pt x="248" y="0"/>
                        <a:pt x="160" y="0"/>
                      </a:cubicBezTo>
                      <a:cubicBezTo>
                        <a:pt x="72" y="0"/>
                        <a:pt x="0" y="72"/>
                        <a:pt x="0" y="160"/>
                      </a:cubicBezTo>
                      <a:cubicBezTo>
                        <a:pt x="0" y="248"/>
                        <a:pt x="72" y="320"/>
                        <a:pt x="160" y="320"/>
                      </a:cubicBezTo>
                      <a:close/>
                      <a:moveTo>
                        <a:pt x="160" y="64"/>
                      </a:moveTo>
                      <a:cubicBezTo>
                        <a:pt x="213" y="64"/>
                        <a:pt x="256" y="107"/>
                        <a:pt x="256" y="160"/>
                      </a:cubicBezTo>
                      <a:cubicBezTo>
                        <a:pt x="256" y="213"/>
                        <a:pt x="213" y="256"/>
                        <a:pt x="160" y="256"/>
                      </a:cubicBezTo>
                      <a:cubicBezTo>
                        <a:pt x="107" y="256"/>
                        <a:pt x="64" y="213"/>
                        <a:pt x="64" y="160"/>
                      </a:cubicBezTo>
                      <a:cubicBezTo>
                        <a:pt x="64" y="107"/>
                        <a:pt x="107" y="64"/>
                        <a:pt x="160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</p:grpSp>
        </p:grpSp>
        <p:grpSp>
          <p:nvGrpSpPr>
            <p:cNvPr id="448" name="Group 447">
              <a:extLst>
                <a:ext uri="{FF2B5EF4-FFF2-40B4-BE49-F238E27FC236}">
                  <a16:creationId xmlns:a16="http://schemas.microsoft.com/office/drawing/2014/main" id="{767831A6-7AFD-5DB2-90AE-7EB7FC8C07EB}"/>
                </a:ext>
              </a:extLst>
            </p:cNvPr>
            <p:cNvGrpSpPr/>
            <p:nvPr/>
          </p:nvGrpSpPr>
          <p:grpSpPr>
            <a:xfrm>
              <a:off x="2891210" y="2873978"/>
              <a:ext cx="474350" cy="474350"/>
              <a:chOff x="2772729" y="4010844"/>
              <a:chExt cx="816844" cy="816844"/>
            </a:xfrm>
          </p:grpSpPr>
          <p:sp>
            <p:nvSpPr>
              <p:cNvPr id="449" name="Oval 448">
                <a:extLst>
                  <a:ext uri="{FF2B5EF4-FFF2-40B4-BE49-F238E27FC236}">
                    <a16:creationId xmlns:a16="http://schemas.microsoft.com/office/drawing/2014/main" id="{6EB0A856-6A8A-73B8-A2A9-27615231A0BB}"/>
                  </a:ext>
                </a:extLst>
              </p:cNvPr>
              <p:cNvSpPr/>
              <p:nvPr/>
            </p:nvSpPr>
            <p:spPr>
              <a:xfrm>
                <a:off x="2772729" y="4010844"/>
                <a:ext cx="816844" cy="816844"/>
              </a:xfrm>
              <a:prstGeom prst="ellipse">
                <a:avLst/>
              </a:prstGeom>
              <a:solidFill>
                <a:schemeClr val="accent2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809" tIns="76809" rIns="76809" bIns="76809" rtlCol="0" anchor="ctr"/>
              <a:lstStyle/>
              <a:p>
                <a:pPr algn="ctr"/>
                <a:endParaRPr lang="pt-BR" altLang="zh-CN" sz="1051" kern="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50" name="Group 449">
                <a:extLst>
                  <a:ext uri="{FF2B5EF4-FFF2-40B4-BE49-F238E27FC236}">
                    <a16:creationId xmlns:a16="http://schemas.microsoft.com/office/drawing/2014/main" id="{3571541E-8F1B-2B9B-73D5-E9F1B081FF8C}"/>
                  </a:ext>
                </a:extLst>
              </p:cNvPr>
              <p:cNvGrpSpPr/>
              <p:nvPr/>
            </p:nvGrpSpPr>
            <p:grpSpPr>
              <a:xfrm>
                <a:off x="2926274" y="4264247"/>
                <a:ext cx="509756" cy="310034"/>
                <a:chOff x="2703513" y="3662602"/>
                <a:chExt cx="817699" cy="472598"/>
              </a:xfrm>
              <a:solidFill>
                <a:schemeClr val="bg1"/>
              </a:solidFill>
            </p:grpSpPr>
            <p:sp>
              <p:nvSpPr>
                <p:cNvPr id="451" name="Freeform 11">
                  <a:extLst>
                    <a:ext uri="{FF2B5EF4-FFF2-40B4-BE49-F238E27FC236}">
                      <a16:creationId xmlns:a16="http://schemas.microsoft.com/office/drawing/2014/main" id="{FD672497-0760-B3E5-2951-3B764DE853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03513" y="3662602"/>
                  <a:ext cx="373064" cy="472598"/>
                </a:xfrm>
                <a:custGeom>
                  <a:avLst/>
                  <a:gdLst>
                    <a:gd name="T0" fmla="*/ 210 w 832"/>
                    <a:gd name="T1" fmla="*/ 96 h 1151"/>
                    <a:gd name="T2" fmla="*/ 96 w 832"/>
                    <a:gd name="T3" fmla="*/ 223 h 1151"/>
                    <a:gd name="T4" fmla="*/ 256 w 832"/>
                    <a:gd name="T5" fmla="*/ 788 h 1151"/>
                    <a:gd name="T6" fmla="*/ 192 w 832"/>
                    <a:gd name="T7" fmla="*/ 863 h 1151"/>
                    <a:gd name="T8" fmla="*/ 0 w 832"/>
                    <a:gd name="T9" fmla="*/ 1119 h 1151"/>
                    <a:gd name="T10" fmla="*/ 64 w 832"/>
                    <a:gd name="T11" fmla="*/ 1119 h 1151"/>
                    <a:gd name="T12" fmla="*/ 192 w 832"/>
                    <a:gd name="T13" fmla="*/ 927 h 1151"/>
                    <a:gd name="T14" fmla="*/ 391 w 832"/>
                    <a:gd name="T15" fmla="*/ 1075 h 1151"/>
                    <a:gd name="T16" fmla="*/ 396 w 832"/>
                    <a:gd name="T17" fmla="*/ 1080 h 1151"/>
                    <a:gd name="T18" fmla="*/ 404 w 832"/>
                    <a:gd name="T19" fmla="*/ 1084 h 1151"/>
                    <a:gd name="T20" fmla="*/ 416 w 832"/>
                    <a:gd name="T21" fmla="*/ 1087 h 1151"/>
                    <a:gd name="T22" fmla="*/ 428 w 832"/>
                    <a:gd name="T23" fmla="*/ 1084 h 1151"/>
                    <a:gd name="T24" fmla="*/ 436 w 832"/>
                    <a:gd name="T25" fmla="*/ 1080 h 1151"/>
                    <a:gd name="T26" fmla="*/ 441 w 832"/>
                    <a:gd name="T27" fmla="*/ 1075 h 1151"/>
                    <a:gd name="T28" fmla="*/ 640 w 832"/>
                    <a:gd name="T29" fmla="*/ 927 h 1151"/>
                    <a:gd name="T30" fmla="*/ 768 w 832"/>
                    <a:gd name="T31" fmla="*/ 1119 h 1151"/>
                    <a:gd name="T32" fmla="*/ 832 w 832"/>
                    <a:gd name="T33" fmla="*/ 1119 h 1151"/>
                    <a:gd name="T34" fmla="*/ 640 w 832"/>
                    <a:gd name="T35" fmla="*/ 863 h 1151"/>
                    <a:gd name="T36" fmla="*/ 576 w 832"/>
                    <a:gd name="T37" fmla="*/ 788 h 1151"/>
                    <a:gd name="T38" fmla="*/ 768 w 832"/>
                    <a:gd name="T39" fmla="*/ 640 h 1151"/>
                    <a:gd name="T40" fmla="*/ 832 w 832"/>
                    <a:gd name="T41" fmla="*/ 640 h 1151"/>
                    <a:gd name="T42" fmla="*/ 832 w 832"/>
                    <a:gd name="T43" fmla="*/ 640 h 1151"/>
                    <a:gd name="T44" fmla="*/ 832 w 832"/>
                    <a:gd name="T45" fmla="*/ 367 h 1151"/>
                    <a:gd name="T46" fmla="*/ 192 w 832"/>
                    <a:gd name="T47" fmla="*/ 168 h 1151"/>
                    <a:gd name="T48" fmla="*/ 160 w 832"/>
                    <a:gd name="T49" fmla="*/ 374 h 1151"/>
                    <a:gd name="T50" fmla="*/ 160 w 832"/>
                    <a:gd name="T51" fmla="*/ 223 h 1151"/>
                    <a:gd name="T52" fmla="*/ 512 w 832"/>
                    <a:gd name="T53" fmla="*/ 884 h 1151"/>
                    <a:gd name="T54" fmla="*/ 320 w 832"/>
                    <a:gd name="T55" fmla="*/ 884 h 1151"/>
                    <a:gd name="T56" fmla="*/ 416 w 832"/>
                    <a:gd name="T57" fmla="*/ 831 h 1151"/>
                    <a:gd name="T58" fmla="*/ 512 w 832"/>
                    <a:gd name="T59" fmla="*/ 884 h 1151"/>
                    <a:gd name="T60" fmla="*/ 160 w 832"/>
                    <a:gd name="T61" fmla="*/ 511 h 1151"/>
                    <a:gd name="T62" fmla="*/ 224 w 832"/>
                    <a:gd name="T63" fmla="*/ 403 h 1151"/>
                    <a:gd name="T64" fmla="*/ 320 w 832"/>
                    <a:gd name="T65" fmla="*/ 447 h 1151"/>
                    <a:gd name="T66" fmla="*/ 576 w 832"/>
                    <a:gd name="T67" fmla="*/ 448 h 1151"/>
                    <a:gd name="T68" fmla="*/ 672 w 832"/>
                    <a:gd name="T69" fmla="*/ 511 h 1151"/>
                    <a:gd name="T70" fmla="*/ 580 w 832"/>
                    <a:gd name="T71" fmla="*/ 384 h 1151"/>
                    <a:gd name="T72" fmla="*/ 321 w 832"/>
                    <a:gd name="T73" fmla="*/ 383 h 1151"/>
                    <a:gd name="T74" fmla="*/ 256 w 832"/>
                    <a:gd name="T75" fmla="*/ 319 h 1151"/>
                    <a:gd name="T76" fmla="*/ 256 w 832"/>
                    <a:gd name="T77" fmla="*/ 141 h 1151"/>
                    <a:gd name="T78" fmla="*/ 768 w 832"/>
                    <a:gd name="T79" fmla="*/ 367 h 1151"/>
                    <a:gd name="T80" fmla="*/ 768 w 832"/>
                    <a:gd name="T81" fmla="*/ 471 h 1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832" h="1151">
                      <a:moveTo>
                        <a:pt x="464" y="0"/>
                      </a:moveTo>
                      <a:cubicBezTo>
                        <a:pt x="365" y="0"/>
                        <a:pt x="276" y="34"/>
                        <a:pt x="210" y="96"/>
                      </a:cubicBezTo>
                      <a:cubicBezTo>
                        <a:pt x="146" y="103"/>
                        <a:pt x="96" y="157"/>
                        <a:pt x="96" y="222"/>
                      </a:cubicBezTo>
                      <a:cubicBezTo>
                        <a:pt x="96" y="223"/>
                        <a:pt x="96" y="223"/>
                        <a:pt x="96" y="223"/>
                      </a:cubicBezTo>
                      <a:cubicBezTo>
                        <a:pt x="96" y="511"/>
                        <a:pt x="96" y="511"/>
                        <a:pt x="96" y="511"/>
                      </a:cubicBezTo>
                      <a:cubicBezTo>
                        <a:pt x="96" y="629"/>
                        <a:pt x="161" y="732"/>
                        <a:pt x="256" y="788"/>
                      </a:cubicBezTo>
                      <a:cubicBezTo>
                        <a:pt x="256" y="863"/>
                        <a:pt x="256" y="863"/>
                        <a:pt x="256" y="863"/>
                      </a:cubicBezTo>
                      <a:cubicBezTo>
                        <a:pt x="192" y="863"/>
                        <a:pt x="192" y="863"/>
                        <a:pt x="192" y="863"/>
                      </a:cubicBezTo>
                      <a:cubicBezTo>
                        <a:pt x="86" y="863"/>
                        <a:pt x="0" y="949"/>
                        <a:pt x="0" y="1055"/>
                      </a:cubicBezTo>
                      <a:cubicBezTo>
                        <a:pt x="0" y="1119"/>
                        <a:pt x="0" y="1119"/>
                        <a:pt x="0" y="1119"/>
                      </a:cubicBezTo>
                      <a:cubicBezTo>
                        <a:pt x="0" y="1137"/>
                        <a:pt x="14" y="1151"/>
                        <a:pt x="32" y="1151"/>
                      </a:cubicBezTo>
                      <a:cubicBezTo>
                        <a:pt x="50" y="1151"/>
                        <a:pt x="64" y="1137"/>
                        <a:pt x="64" y="1119"/>
                      </a:cubicBezTo>
                      <a:cubicBezTo>
                        <a:pt x="64" y="1055"/>
                        <a:pt x="64" y="1055"/>
                        <a:pt x="64" y="1055"/>
                      </a:cubicBezTo>
                      <a:cubicBezTo>
                        <a:pt x="64" y="984"/>
                        <a:pt x="121" y="927"/>
                        <a:pt x="192" y="927"/>
                      </a:cubicBezTo>
                      <a:cubicBezTo>
                        <a:pt x="273" y="927"/>
                        <a:pt x="273" y="927"/>
                        <a:pt x="273" y="927"/>
                      </a:cubicBezTo>
                      <a:cubicBezTo>
                        <a:pt x="391" y="1075"/>
                        <a:pt x="391" y="1075"/>
                        <a:pt x="391" y="1075"/>
                      </a:cubicBezTo>
                      <a:cubicBezTo>
                        <a:pt x="392" y="1076"/>
                        <a:pt x="393" y="1076"/>
                        <a:pt x="393" y="1077"/>
                      </a:cubicBezTo>
                      <a:cubicBezTo>
                        <a:pt x="394" y="1078"/>
                        <a:pt x="395" y="1079"/>
                        <a:pt x="396" y="1080"/>
                      </a:cubicBezTo>
                      <a:cubicBezTo>
                        <a:pt x="397" y="1081"/>
                        <a:pt x="399" y="1082"/>
                        <a:pt x="400" y="1082"/>
                      </a:cubicBezTo>
                      <a:cubicBezTo>
                        <a:pt x="402" y="1083"/>
                        <a:pt x="403" y="1084"/>
                        <a:pt x="404" y="1084"/>
                      </a:cubicBezTo>
                      <a:cubicBezTo>
                        <a:pt x="408" y="1086"/>
                        <a:pt x="412" y="1087"/>
                        <a:pt x="416" y="1087"/>
                      </a:cubicBezTo>
                      <a:cubicBezTo>
                        <a:pt x="416" y="1087"/>
                        <a:pt x="416" y="1087"/>
                        <a:pt x="416" y="1087"/>
                      </a:cubicBezTo>
                      <a:cubicBezTo>
                        <a:pt x="416" y="1087"/>
                        <a:pt x="416" y="1087"/>
                        <a:pt x="416" y="1087"/>
                      </a:cubicBezTo>
                      <a:cubicBezTo>
                        <a:pt x="420" y="1087"/>
                        <a:pt x="424" y="1086"/>
                        <a:pt x="428" y="1084"/>
                      </a:cubicBezTo>
                      <a:cubicBezTo>
                        <a:pt x="429" y="1084"/>
                        <a:pt x="430" y="1083"/>
                        <a:pt x="432" y="1082"/>
                      </a:cubicBezTo>
                      <a:cubicBezTo>
                        <a:pt x="433" y="1082"/>
                        <a:pt x="435" y="1081"/>
                        <a:pt x="436" y="1080"/>
                      </a:cubicBezTo>
                      <a:cubicBezTo>
                        <a:pt x="437" y="1079"/>
                        <a:pt x="438" y="1078"/>
                        <a:pt x="439" y="1077"/>
                      </a:cubicBezTo>
                      <a:cubicBezTo>
                        <a:pt x="439" y="1076"/>
                        <a:pt x="440" y="1076"/>
                        <a:pt x="441" y="1075"/>
                      </a:cubicBezTo>
                      <a:cubicBezTo>
                        <a:pt x="560" y="927"/>
                        <a:pt x="560" y="927"/>
                        <a:pt x="560" y="927"/>
                      </a:cubicBezTo>
                      <a:cubicBezTo>
                        <a:pt x="640" y="927"/>
                        <a:pt x="640" y="927"/>
                        <a:pt x="640" y="927"/>
                      </a:cubicBezTo>
                      <a:cubicBezTo>
                        <a:pt x="711" y="927"/>
                        <a:pt x="768" y="984"/>
                        <a:pt x="768" y="1055"/>
                      </a:cubicBezTo>
                      <a:cubicBezTo>
                        <a:pt x="768" y="1119"/>
                        <a:pt x="768" y="1119"/>
                        <a:pt x="768" y="1119"/>
                      </a:cubicBezTo>
                      <a:cubicBezTo>
                        <a:pt x="768" y="1137"/>
                        <a:pt x="782" y="1151"/>
                        <a:pt x="800" y="1151"/>
                      </a:cubicBezTo>
                      <a:cubicBezTo>
                        <a:pt x="818" y="1151"/>
                        <a:pt x="832" y="1137"/>
                        <a:pt x="832" y="1119"/>
                      </a:cubicBezTo>
                      <a:cubicBezTo>
                        <a:pt x="832" y="1055"/>
                        <a:pt x="832" y="1055"/>
                        <a:pt x="832" y="1055"/>
                      </a:cubicBezTo>
                      <a:cubicBezTo>
                        <a:pt x="832" y="949"/>
                        <a:pt x="746" y="863"/>
                        <a:pt x="640" y="863"/>
                      </a:cubicBezTo>
                      <a:cubicBezTo>
                        <a:pt x="576" y="863"/>
                        <a:pt x="576" y="863"/>
                        <a:pt x="576" y="863"/>
                      </a:cubicBezTo>
                      <a:cubicBezTo>
                        <a:pt x="576" y="788"/>
                        <a:pt x="576" y="788"/>
                        <a:pt x="576" y="788"/>
                      </a:cubicBezTo>
                      <a:cubicBezTo>
                        <a:pt x="666" y="736"/>
                        <a:pt x="728" y="641"/>
                        <a:pt x="735" y="532"/>
                      </a:cubicBezTo>
                      <a:cubicBezTo>
                        <a:pt x="756" y="563"/>
                        <a:pt x="768" y="600"/>
                        <a:pt x="768" y="640"/>
                      </a:cubicBezTo>
                      <a:cubicBezTo>
                        <a:pt x="768" y="658"/>
                        <a:pt x="782" y="672"/>
                        <a:pt x="800" y="672"/>
                      </a:cubicBezTo>
                      <a:cubicBezTo>
                        <a:pt x="818" y="672"/>
                        <a:pt x="832" y="658"/>
                        <a:pt x="832" y="640"/>
                      </a:cubicBezTo>
                      <a:cubicBezTo>
                        <a:pt x="832" y="640"/>
                        <a:pt x="832" y="640"/>
                        <a:pt x="832" y="640"/>
                      </a:cubicBezTo>
                      <a:cubicBezTo>
                        <a:pt x="832" y="640"/>
                        <a:pt x="832" y="640"/>
                        <a:pt x="832" y="640"/>
                      </a:cubicBezTo>
                      <a:cubicBezTo>
                        <a:pt x="832" y="367"/>
                        <a:pt x="832" y="367"/>
                        <a:pt x="832" y="367"/>
                      </a:cubicBezTo>
                      <a:cubicBezTo>
                        <a:pt x="832" y="367"/>
                        <a:pt x="832" y="367"/>
                        <a:pt x="832" y="367"/>
                      </a:cubicBezTo>
                      <a:cubicBezTo>
                        <a:pt x="832" y="164"/>
                        <a:pt x="667" y="0"/>
                        <a:pt x="464" y="0"/>
                      </a:cubicBezTo>
                      <a:close/>
                      <a:moveTo>
                        <a:pt x="192" y="168"/>
                      </a:moveTo>
                      <a:cubicBezTo>
                        <a:pt x="192" y="319"/>
                        <a:pt x="192" y="319"/>
                        <a:pt x="192" y="319"/>
                      </a:cubicBezTo>
                      <a:cubicBezTo>
                        <a:pt x="192" y="343"/>
                        <a:pt x="179" y="363"/>
                        <a:pt x="160" y="374"/>
                      </a:cubicBezTo>
                      <a:cubicBezTo>
                        <a:pt x="160" y="223"/>
                        <a:pt x="160" y="223"/>
                        <a:pt x="160" y="223"/>
                      </a:cubicBezTo>
                      <a:cubicBezTo>
                        <a:pt x="160" y="223"/>
                        <a:pt x="160" y="223"/>
                        <a:pt x="160" y="223"/>
                      </a:cubicBezTo>
                      <a:cubicBezTo>
                        <a:pt x="160" y="199"/>
                        <a:pt x="173" y="179"/>
                        <a:pt x="192" y="168"/>
                      </a:cubicBezTo>
                      <a:close/>
                      <a:moveTo>
                        <a:pt x="512" y="884"/>
                      </a:moveTo>
                      <a:cubicBezTo>
                        <a:pt x="416" y="1004"/>
                        <a:pt x="416" y="1004"/>
                        <a:pt x="416" y="1004"/>
                      </a:cubicBezTo>
                      <a:cubicBezTo>
                        <a:pt x="320" y="884"/>
                        <a:pt x="320" y="884"/>
                        <a:pt x="320" y="884"/>
                      </a:cubicBezTo>
                      <a:cubicBezTo>
                        <a:pt x="320" y="816"/>
                        <a:pt x="320" y="816"/>
                        <a:pt x="320" y="816"/>
                      </a:cubicBezTo>
                      <a:cubicBezTo>
                        <a:pt x="350" y="826"/>
                        <a:pt x="383" y="831"/>
                        <a:pt x="416" y="831"/>
                      </a:cubicBezTo>
                      <a:cubicBezTo>
                        <a:pt x="449" y="831"/>
                        <a:pt x="482" y="826"/>
                        <a:pt x="512" y="816"/>
                      </a:cubicBezTo>
                      <a:lnTo>
                        <a:pt x="512" y="884"/>
                      </a:lnTo>
                      <a:close/>
                      <a:moveTo>
                        <a:pt x="416" y="767"/>
                      </a:moveTo>
                      <a:cubicBezTo>
                        <a:pt x="275" y="767"/>
                        <a:pt x="160" y="652"/>
                        <a:pt x="160" y="511"/>
                      </a:cubicBezTo>
                      <a:cubicBezTo>
                        <a:pt x="160" y="442"/>
                        <a:pt x="160" y="442"/>
                        <a:pt x="160" y="442"/>
                      </a:cubicBezTo>
                      <a:cubicBezTo>
                        <a:pt x="185" y="436"/>
                        <a:pt x="207" y="422"/>
                        <a:pt x="224" y="403"/>
                      </a:cubicBezTo>
                      <a:cubicBezTo>
                        <a:pt x="247" y="429"/>
                        <a:pt x="281" y="446"/>
                        <a:pt x="319" y="447"/>
                      </a:cubicBezTo>
                      <a:cubicBezTo>
                        <a:pt x="319" y="447"/>
                        <a:pt x="320" y="447"/>
                        <a:pt x="320" y="447"/>
                      </a:cubicBezTo>
                      <a:cubicBezTo>
                        <a:pt x="573" y="447"/>
                        <a:pt x="573" y="447"/>
                        <a:pt x="573" y="447"/>
                      </a:cubicBezTo>
                      <a:cubicBezTo>
                        <a:pt x="574" y="447"/>
                        <a:pt x="575" y="448"/>
                        <a:pt x="576" y="448"/>
                      </a:cubicBezTo>
                      <a:cubicBezTo>
                        <a:pt x="611" y="448"/>
                        <a:pt x="644" y="457"/>
                        <a:pt x="672" y="474"/>
                      </a:cubicBezTo>
                      <a:cubicBezTo>
                        <a:pt x="672" y="511"/>
                        <a:pt x="672" y="511"/>
                        <a:pt x="672" y="511"/>
                      </a:cubicBezTo>
                      <a:cubicBezTo>
                        <a:pt x="672" y="652"/>
                        <a:pt x="557" y="767"/>
                        <a:pt x="416" y="767"/>
                      </a:cubicBezTo>
                      <a:close/>
                      <a:moveTo>
                        <a:pt x="580" y="384"/>
                      </a:moveTo>
                      <a:cubicBezTo>
                        <a:pt x="579" y="384"/>
                        <a:pt x="577" y="383"/>
                        <a:pt x="576" y="383"/>
                      </a:cubicBezTo>
                      <a:cubicBezTo>
                        <a:pt x="321" y="383"/>
                        <a:pt x="321" y="383"/>
                        <a:pt x="321" y="383"/>
                      </a:cubicBezTo>
                      <a:cubicBezTo>
                        <a:pt x="320" y="383"/>
                        <a:pt x="320" y="383"/>
                        <a:pt x="320" y="383"/>
                      </a:cubicBezTo>
                      <a:cubicBezTo>
                        <a:pt x="285" y="383"/>
                        <a:pt x="256" y="354"/>
                        <a:pt x="256" y="319"/>
                      </a:cubicBezTo>
                      <a:cubicBezTo>
                        <a:pt x="256" y="319"/>
                        <a:pt x="256" y="319"/>
                        <a:pt x="256" y="318"/>
                      </a:cubicBezTo>
                      <a:cubicBezTo>
                        <a:pt x="256" y="141"/>
                        <a:pt x="256" y="141"/>
                        <a:pt x="256" y="141"/>
                      </a:cubicBezTo>
                      <a:cubicBezTo>
                        <a:pt x="310" y="91"/>
                        <a:pt x="383" y="63"/>
                        <a:pt x="464" y="63"/>
                      </a:cubicBezTo>
                      <a:cubicBezTo>
                        <a:pt x="632" y="63"/>
                        <a:pt x="768" y="200"/>
                        <a:pt x="768" y="367"/>
                      </a:cubicBezTo>
                      <a:cubicBezTo>
                        <a:pt x="768" y="368"/>
                        <a:pt x="768" y="368"/>
                        <a:pt x="768" y="368"/>
                      </a:cubicBezTo>
                      <a:cubicBezTo>
                        <a:pt x="768" y="471"/>
                        <a:pt x="768" y="471"/>
                        <a:pt x="768" y="471"/>
                      </a:cubicBezTo>
                      <a:cubicBezTo>
                        <a:pt x="722" y="419"/>
                        <a:pt x="655" y="385"/>
                        <a:pt x="580" y="3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grpSp>
              <p:nvGrpSpPr>
                <p:cNvPr id="452" name="Group 451">
                  <a:extLst>
                    <a:ext uri="{FF2B5EF4-FFF2-40B4-BE49-F238E27FC236}">
                      <a16:creationId xmlns:a16="http://schemas.microsoft.com/office/drawing/2014/main" id="{1FFCDA04-AD41-7DDF-8FA8-20D5B9545424}"/>
                    </a:ext>
                  </a:extLst>
                </p:cNvPr>
                <p:cNvGrpSpPr/>
                <p:nvPr/>
              </p:nvGrpSpPr>
              <p:grpSpPr>
                <a:xfrm>
                  <a:off x="3148149" y="3669124"/>
                  <a:ext cx="373063" cy="459552"/>
                  <a:chOff x="3219451" y="3669124"/>
                  <a:chExt cx="373063" cy="459552"/>
                </a:xfrm>
                <a:grpFill/>
              </p:grpSpPr>
              <p:sp>
                <p:nvSpPr>
                  <p:cNvPr id="453" name="Freeform 10">
                    <a:extLst>
                      <a:ext uri="{FF2B5EF4-FFF2-40B4-BE49-F238E27FC236}">
                        <a16:creationId xmlns:a16="http://schemas.microsoft.com/office/drawing/2014/main" id="{4717941D-B403-41AF-42C9-7C80D9E1E62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219451" y="3669124"/>
                    <a:ext cx="373063" cy="459552"/>
                  </a:xfrm>
                  <a:custGeom>
                    <a:avLst/>
                    <a:gdLst>
                      <a:gd name="T0" fmla="*/ 576 w 832"/>
                      <a:gd name="T1" fmla="*/ 832 h 1120"/>
                      <a:gd name="T2" fmla="*/ 736 w 832"/>
                      <a:gd name="T3" fmla="*/ 480 h 1120"/>
                      <a:gd name="T4" fmla="*/ 736 w 832"/>
                      <a:gd name="T5" fmla="*/ 480 h 1120"/>
                      <a:gd name="T6" fmla="*/ 668 w 832"/>
                      <a:gd name="T7" fmla="*/ 134 h 1120"/>
                      <a:gd name="T8" fmla="*/ 400 w 832"/>
                      <a:gd name="T9" fmla="*/ 0 h 1120"/>
                      <a:gd name="T10" fmla="*/ 65 w 832"/>
                      <a:gd name="T11" fmla="*/ 340 h 1120"/>
                      <a:gd name="T12" fmla="*/ 69 w 832"/>
                      <a:gd name="T13" fmla="*/ 352 h 1120"/>
                      <a:gd name="T14" fmla="*/ 76 w 832"/>
                      <a:gd name="T15" fmla="*/ 361 h 1120"/>
                      <a:gd name="T16" fmla="*/ 87 w 832"/>
                      <a:gd name="T17" fmla="*/ 366 h 1120"/>
                      <a:gd name="T18" fmla="*/ 96 w 832"/>
                      <a:gd name="T19" fmla="*/ 368 h 1120"/>
                      <a:gd name="T20" fmla="*/ 96 w 832"/>
                      <a:gd name="T21" fmla="*/ 479 h 1120"/>
                      <a:gd name="T22" fmla="*/ 256 w 832"/>
                      <a:gd name="T23" fmla="*/ 757 h 1120"/>
                      <a:gd name="T24" fmla="*/ 192 w 832"/>
                      <a:gd name="T25" fmla="*/ 832 h 1120"/>
                      <a:gd name="T26" fmla="*/ 0 w 832"/>
                      <a:gd name="T27" fmla="*/ 1088 h 1120"/>
                      <a:gd name="T28" fmla="*/ 64 w 832"/>
                      <a:gd name="T29" fmla="*/ 1088 h 1120"/>
                      <a:gd name="T30" fmla="*/ 192 w 832"/>
                      <a:gd name="T31" fmla="*/ 896 h 1120"/>
                      <a:gd name="T32" fmla="*/ 338 w 832"/>
                      <a:gd name="T33" fmla="*/ 925 h 1120"/>
                      <a:gd name="T34" fmla="*/ 352 w 832"/>
                      <a:gd name="T35" fmla="*/ 928 h 1120"/>
                      <a:gd name="T36" fmla="*/ 352 w 832"/>
                      <a:gd name="T37" fmla="*/ 928 h 1120"/>
                      <a:gd name="T38" fmla="*/ 352 w 832"/>
                      <a:gd name="T39" fmla="*/ 928 h 1120"/>
                      <a:gd name="T40" fmla="*/ 366 w 832"/>
                      <a:gd name="T41" fmla="*/ 925 h 1120"/>
                      <a:gd name="T42" fmla="*/ 466 w 832"/>
                      <a:gd name="T43" fmla="*/ 925 h 1120"/>
                      <a:gd name="T44" fmla="*/ 480 w 832"/>
                      <a:gd name="T45" fmla="*/ 928 h 1120"/>
                      <a:gd name="T46" fmla="*/ 480 w 832"/>
                      <a:gd name="T47" fmla="*/ 928 h 1120"/>
                      <a:gd name="T48" fmla="*/ 480 w 832"/>
                      <a:gd name="T49" fmla="*/ 928 h 1120"/>
                      <a:gd name="T50" fmla="*/ 494 w 832"/>
                      <a:gd name="T51" fmla="*/ 925 h 1120"/>
                      <a:gd name="T52" fmla="*/ 640 w 832"/>
                      <a:gd name="T53" fmla="*/ 896 h 1120"/>
                      <a:gd name="T54" fmla="*/ 768 w 832"/>
                      <a:gd name="T55" fmla="*/ 1088 h 1120"/>
                      <a:gd name="T56" fmla="*/ 832 w 832"/>
                      <a:gd name="T57" fmla="*/ 1088 h 1120"/>
                      <a:gd name="T58" fmla="*/ 640 w 832"/>
                      <a:gd name="T59" fmla="*/ 832 h 1120"/>
                      <a:gd name="T60" fmla="*/ 603 w 832"/>
                      <a:gd name="T61" fmla="*/ 255 h 1120"/>
                      <a:gd name="T62" fmla="*/ 668 w 832"/>
                      <a:gd name="T63" fmla="*/ 290 h 1120"/>
                      <a:gd name="T64" fmla="*/ 599 w 832"/>
                      <a:gd name="T65" fmla="*/ 151 h 1120"/>
                      <a:gd name="T66" fmla="*/ 453 w 832"/>
                      <a:gd name="T67" fmla="*/ 274 h 1120"/>
                      <a:gd name="T68" fmla="*/ 400 w 832"/>
                      <a:gd name="T69" fmla="*/ 64 h 1120"/>
                      <a:gd name="T70" fmla="*/ 160 w 832"/>
                      <a:gd name="T71" fmla="*/ 479 h 1120"/>
                      <a:gd name="T72" fmla="*/ 160 w 832"/>
                      <a:gd name="T73" fmla="*/ 376 h 1120"/>
                      <a:gd name="T74" fmla="*/ 672 w 832"/>
                      <a:gd name="T75" fmla="*/ 386 h 1120"/>
                      <a:gd name="T76" fmla="*/ 672 w 832"/>
                      <a:gd name="T77" fmla="*/ 480 h 1120"/>
                      <a:gd name="T78" fmla="*/ 416 w 832"/>
                      <a:gd name="T79" fmla="*/ 736 h 1120"/>
                      <a:gd name="T80" fmla="*/ 416 w 832"/>
                      <a:gd name="T81" fmla="*/ 800 h 1120"/>
                      <a:gd name="T82" fmla="*/ 512 w 832"/>
                      <a:gd name="T83" fmla="*/ 844 h 1120"/>
                      <a:gd name="T84" fmla="*/ 430 w 832"/>
                      <a:gd name="T85" fmla="*/ 835 h 1120"/>
                      <a:gd name="T86" fmla="*/ 422 w 832"/>
                      <a:gd name="T87" fmla="*/ 833 h 1120"/>
                      <a:gd name="T88" fmla="*/ 410 w 832"/>
                      <a:gd name="T89" fmla="*/ 833 h 1120"/>
                      <a:gd name="T90" fmla="*/ 402 w 832"/>
                      <a:gd name="T91" fmla="*/ 835 h 1120"/>
                      <a:gd name="T92" fmla="*/ 320 w 832"/>
                      <a:gd name="T93" fmla="*/ 844 h 1120"/>
                      <a:gd name="T94" fmla="*/ 416 w 832"/>
                      <a:gd name="T95" fmla="*/ 800 h 11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832" h="1120">
                        <a:moveTo>
                          <a:pt x="640" y="832"/>
                        </a:moveTo>
                        <a:cubicBezTo>
                          <a:pt x="576" y="832"/>
                          <a:pt x="576" y="832"/>
                          <a:pt x="576" y="832"/>
                        </a:cubicBezTo>
                        <a:cubicBezTo>
                          <a:pt x="576" y="757"/>
                          <a:pt x="576" y="757"/>
                          <a:pt x="576" y="757"/>
                        </a:cubicBezTo>
                        <a:cubicBezTo>
                          <a:pt x="671" y="701"/>
                          <a:pt x="736" y="598"/>
                          <a:pt x="736" y="480"/>
                        </a:cubicBezTo>
                        <a:cubicBezTo>
                          <a:pt x="736" y="480"/>
                          <a:pt x="736" y="480"/>
                          <a:pt x="736" y="480"/>
                        </a:cubicBezTo>
                        <a:cubicBezTo>
                          <a:pt x="736" y="480"/>
                          <a:pt x="736" y="480"/>
                          <a:pt x="736" y="480"/>
                        </a:cubicBezTo>
                        <a:cubicBezTo>
                          <a:pt x="736" y="336"/>
                          <a:pt x="736" y="336"/>
                          <a:pt x="736" y="336"/>
                        </a:cubicBezTo>
                        <a:cubicBezTo>
                          <a:pt x="736" y="260"/>
                          <a:pt x="710" y="190"/>
                          <a:pt x="668" y="134"/>
                        </a:cubicBezTo>
                        <a:cubicBezTo>
                          <a:pt x="667" y="133"/>
                          <a:pt x="666" y="132"/>
                          <a:pt x="665" y="130"/>
                        </a:cubicBezTo>
                        <a:cubicBezTo>
                          <a:pt x="604" y="51"/>
                          <a:pt x="508" y="0"/>
                          <a:pt x="400" y="0"/>
                        </a:cubicBezTo>
                        <a:cubicBezTo>
                          <a:pt x="215" y="0"/>
                          <a:pt x="64" y="151"/>
                          <a:pt x="64" y="336"/>
                        </a:cubicBezTo>
                        <a:cubicBezTo>
                          <a:pt x="64" y="337"/>
                          <a:pt x="65" y="339"/>
                          <a:pt x="65" y="340"/>
                        </a:cubicBezTo>
                        <a:cubicBezTo>
                          <a:pt x="65" y="342"/>
                          <a:pt x="65" y="344"/>
                          <a:pt x="66" y="346"/>
                        </a:cubicBezTo>
                        <a:cubicBezTo>
                          <a:pt x="67" y="348"/>
                          <a:pt x="68" y="350"/>
                          <a:pt x="69" y="352"/>
                        </a:cubicBezTo>
                        <a:cubicBezTo>
                          <a:pt x="70" y="353"/>
                          <a:pt x="71" y="355"/>
                          <a:pt x="72" y="357"/>
                        </a:cubicBezTo>
                        <a:cubicBezTo>
                          <a:pt x="73" y="358"/>
                          <a:pt x="75" y="359"/>
                          <a:pt x="76" y="361"/>
                        </a:cubicBezTo>
                        <a:cubicBezTo>
                          <a:pt x="78" y="362"/>
                          <a:pt x="80" y="363"/>
                          <a:pt x="81" y="364"/>
                        </a:cubicBezTo>
                        <a:cubicBezTo>
                          <a:pt x="83" y="365"/>
                          <a:pt x="85" y="366"/>
                          <a:pt x="87" y="366"/>
                        </a:cubicBezTo>
                        <a:cubicBezTo>
                          <a:pt x="89" y="367"/>
                          <a:pt x="90" y="367"/>
                          <a:pt x="91" y="368"/>
                        </a:cubicBezTo>
                        <a:cubicBezTo>
                          <a:pt x="93" y="368"/>
                          <a:pt x="94" y="368"/>
                          <a:pt x="96" y="368"/>
                        </a:cubicBezTo>
                        <a:cubicBezTo>
                          <a:pt x="96" y="479"/>
                          <a:pt x="96" y="479"/>
                          <a:pt x="96" y="479"/>
                        </a:cubicBezTo>
                        <a:cubicBezTo>
                          <a:pt x="96" y="479"/>
                          <a:pt x="96" y="479"/>
                          <a:pt x="96" y="479"/>
                        </a:cubicBezTo>
                        <a:cubicBezTo>
                          <a:pt x="96" y="480"/>
                          <a:pt x="96" y="480"/>
                          <a:pt x="96" y="480"/>
                        </a:cubicBezTo>
                        <a:cubicBezTo>
                          <a:pt x="96" y="598"/>
                          <a:pt x="160" y="701"/>
                          <a:pt x="256" y="757"/>
                        </a:cubicBezTo>
                        <a:cubicBezTo>
                          <a:pt x="256" y="832"/>
                          <a:pt x="256" y="832"/>
                          <a:pt x="256" y="832"/>
                        </a:cubicBezTo>
                        <a:cubicBezTo>
                          <a:pt x="192" y="832"/>
                          <a:pt x="192" y="832"/>
                          <a:pt x="192" y="832"/>
                        </a:cubicBezTo>
                        <a:cubicBezTo>
                          <a:pt x="86" y="832"/>
                          <a:pt x="0" y="918"/>
                          <a:pt x="0" y="1024"/>
                        </a:cubicBezTo>
                        <a:cubicBezTo>
                          <a:pt x="0" y="1088"/>
                          <a:pt x="0" y="1088"/>
                          <a:pt x="0" y="1088"/>
                        </a:cubicBezTo>
                        <a:cubicBezTo>
                          <a:pt x="0" y="1106"/>
                          <a:pt x="14" y="1120"/>
                          <a:pt x="32" y="1120"/>
                        </a:cubicBezTo>
                        <a:cubicBezTo>
                          <a:pt x="50" y="1120"/>
                          <a:pt x="64" y="1106"/>
                          <a:pt x="64" y="1088"/>
                        </a:cubicBezTo>
                        <a:cubicBezTo>
                          <a:pt x="64" y="1024"/>
                          <a:pt x="64" y="1024"/>
                          <a:pt x="64" y="1024"/>
                        </a:cubicBezTo>
                        <a:cubicBezTo>
                          <a:pt x="64" y="953"/>
                          <a:pt x="121" y="896"/>
                          <a:pt x="192" y="896"/>
                        </a:cubicBezTo>
                        <a:cubicBezTo>
                          <a:pt x="280" y="896"/>
                          <a:pt x="280" y="896"/>
                          <a:pt x="280" y="896"/>
                        </a:cubicBezTo>
                        <a:cubicBezTo>
                          <a:pt x="338" y="925"/>
                          <a:pt x="338" y="925"/>
                          <a:pt x="338" y="925"/>
                        </a:cubicBezTo>
                        <a:cubicBezTo>
                          <a:pt x="338" y="925"/>
                          <a:pt x="339" y="925"/>
                          <a:pt x="339" y="925"/>
                        </a:cubicBezTo>
                        <a:cubicBezTo>
                          <a:pt x="343" y="927"/>
                          <a:pt x="347" y="928"/>
                          <a:pt x="352" y="928"/>
                        </a:cubicBezTo>
                        <a:cubicBezTo>
                          <a:pt x="352" y="928"/>
                          <a:pt x="352" y="928"/>
                          <a:pt x="352" y="928"/>
                        </a:cubicBezTo>
                        <a:cubicBezTo>
                          <a:pt x="352" y="928"/>
                          <a:pt x="352" y="928"/>
                          <a:pt x="352" y="928"/>
                        </a:cubicBezTo>
                        <a:cubicBezTo>
                          <a:pt x="352" y="928"/>
                          <a:pt x="352" y="928"/>
                          <a:pt x="352" y="928"/>
                        </a:cubicBezTo>
                        <a:cubicBezTo>
                          <a:pt x="352" y="928"/>
                          <a:pt x="352" y="928"/>
                          <a:pt x="352" y="928"/>
                        </a:cubicBezTo>
                        <a:cubicBezTo>
                          <a:pt x="357" y="928"/>
                          <a:pt x="361" y="927"/>
                          <a:pt x="365" y="925"/>
                        </a:cubicBezTo>
                        <a:cubicBezTo>
                          <a:pt x="365" y="925"/>
                          <a:pt x="366" y="925"/>
                          <a:pt x="366" y="925"/>
                        </a:cubicBezTo>
                        <a:cubicBezTo>
                          <a:pt x="416" y="900"/>
                          <a:pt x="416" y="900"/>
                          <a:pt x="416" y="900"/>
                        </a:cubicBezTo>
                        <a:cubicBezTo>
                          <a:pt x="466" y="925"/>
                          <a:pt x="466" y="925"/>
                          <a:pt x="466" y="925"/>
                        </a:cubicBezTo>
                        <a:cubicBezTo>
                          <a:pt x="466" y="925"/>
                          <a:pt x="467" y="925"/>
                          <a:pt x="467" y="925"/>
                        </a:cubicBezTo>
                        <a:cubicBezTo>
                          <a:pt x="471" y="927"/>
                          <a:pt x="475" y="928"/>
                          <a:pt x="480" y="928"/>
                        </a:cubicBezTo>
                        <a:cubicBezTo>
                          <a:pt x="480" y="928"/>
                          <a:pt x="480" y="928"/>
                          <a:pt x="480" y="928"/>
                        </a:cubicBezTo>
                        <a:cubicBezTo>
                          <a:pt x="480" y="928"/>
                          <a:pt x="480" y="928"/>
                          <a:pt x="480" y="928"/>
                        </a:cubicBezTo>
                        <a:cubicBezTo>
                          <a:pt x="480" y="928"/>
                          <a:pt x="480" y="928"/>
                          <a:pt x="480" y="928"/>
                        </a:cubicBezTo>
                        <a:cubicBezTo>
                          <a:pt x="480" y="928"/>
                          <a:pt x="480" y="928"/>
                          <a:pt x="480" y="928"/>
                        </a:cubicBezTo>
                        <a:cubicBezTo>
                          <a:pt x="485" y="928"/>
                          <a:pt x="489" y="927"/>
                          <a:pt x="493" y="925"/>
                        </a:cubicBezTo>
                        <a:cubicBezTo>
                          <a:pt x="493" y="925"/>
                          <a:pt x="494" y="925"/>
                          <a:pt x="494" y="925"/>
                        </a:cubicBezTo>
                        <a:cubicBezTo>
                          <a:pt x="552" y="896"/>
                          <a:pt x="552" y="896"/>
                          <a:pt x="552" y="896"/>
                        </a:cubicBezTo>
                        <a:cubicBezTo>
                          <a:pt x="640" y="896"/>
                          <a:pt x="640" y="896"/>
                          <a:pt x="640" y="896"/>
                        </a:cubicBezTo>
                        <a:cubicBezTo>
                          <a:pt x="711" y="896"/>
                          <a:pt x="768" y="953"/>
                          <a:pt x="768" y="1024"/>
                        </a:cubicBezTo>
                        <a:cubicBezTo>
                          <a:pt x="768" y="1088"/>
                          <a:pt x="768" y="1088"/>
                          <a:pt x="768" y="1088"/>
                        </a:cubicBezTo>
                        <a:cubicBezTo>
                          <a:pt x="768" y="1106"/>
                          <a:pt x="782" y="1120"/>
                          <a:pt x="800" y="1120"/>
                        </a:cubicBezTo>
                        <a:cubicBezTo>
                          <a:pt x="818" y="1120"/>
                          <a:pt x="832" y="1106"/>
                          <a:pt x="832" y="1088"/>
                        </a:cubicBezTo>
                        <a:cubicBezTo>
                          <a:pt x="832" y="1024"/>
                          <a:pt x="832" y="1024"/>
                          <a:pt x="832" y="1024"/>
                        </a:cubicBezTo>
                        <a:cubicBezTo>
                          <a:pt x="832" y="918"/>
                          <a:pt x="746" y="832"/>
                          <a:pt x="640" y="832"/>
                        </a:cubicBezTo>
                        <a:close/>
                        <a:moveTo>
                          <a:pt x="668" y="290"/>
                        </a:moveTo>
                        <a:cubicBezTo>
                          <a:pt x="646" y="272"/>
                          <a:pt x="624" y="261"/>
                          <a:pt x="603" y="255"/>
                        </a:cubicBezTo>
                        <a:cubicBezTo>
                          <a:pt x="639" y="206"/>
                          <a:pt x="639" y="206"/>
                          <a:pt x="639" y="206"/>
                        </a:cubicBezTo>
                        <a:cubicBezTo>
                          <a:pt x="653" y="232"/>
                          <a:pt x="663" y="260"/>
                          <a:pt x="668" y="290"/>
                        </a:cubicBezTo>
                        <a:close/>
                        <a:moveTo>
                          <a:pt x="400" y="64"/>
                        </a:moveTo>
                        <a:cubicBezTo>
                          <a:pt x="479" y="64"/>
                          <a:pt x="549" y="98"/>
                          <a:pt x="599" y="151"/>
                        </a:cubicBezTo>
                        <a:cubicBezTo>
                          <a:pt x="526" y="254"/>
                          <a:pt x="526" y="254"/>
                          <a:pt x="526" y="254"/>
                        </a:cubicBezTo>
                        <a:cubicBezTo>
                          <a:pt x="502" y="258"/>
                          <a:pt x="479" y="266"/>
                          <a:pt x="453" y="274"/>
                        </a:cubicBezTo>
                        <a:cubicBezTo>
                          <a:pt x="382" y="297"/>
                          <a:pt x="285" y="327"/>
                          <a:pt x="129" y="308"/>
                        </a:cubicBezTo>
                        <a:cubicBezTo>
                          <a:pt x="144" y="171"/>
                          <a:pt x="259" y="64"/>
                          <a:pt x="400" y="64"/>
                        </a:cubicBezTo>
                        <a:close/>
                        <a:moveTo>
                          <a:pt x="160" y="480"/>
                        </a:moveTo>
                        <a:cubicBezTo>
                          <a:pt x="160" y="480"/>
                          <a:pt x="160" y="480"/>
                          <a:pt x="160" y="479"/>
                        </a:cubicBezTo>
                        <a:cubicBezTo>
                          <a:pt x="160" y="479"/>
                          <a:pt x="160" y="479"/>
                          <a:pt x="160" y="479"/>
                        </a:cubicBezTo>
                        <a:cubicBezTo>
                          <a:pt x="160" y="376"/>
                          <a:pt x="160" y="376"/>
                          <a:pt x="160" y="376"/>
                        </a:cubicBezTo>
                        <a:cubicBezTo>
                          <a:pt x="307" y="388"/>
                          <a:pt x="402" y="358"/>
                          <a:pt x="473" y="335"/>
                        </a:cubicBezTo>
                        <a:cubicBezTo>
                          <a:pt x="563" y="305"/>
                          <a:pt x="599" y="294"/>
                          <a:pt x="672" y="386"/>
                        </a:cubicBezTo>
                        <a:cubicBezTo>
                          <a:pt x="672" y="480"/>
                          <a:pt x="672" y="480"/>
                          <a:pt x="672" y="480"/>
                        </a:cubicBezTo>
                        <a:cubicBezTo>
                          <a:pt x="672" y="480"/>
                          <a:pt x="672" y="480"/>
                          <a:pt x="672" y="480"/>
                        </a:cubicBezTo>
                        <a:cubicBezTo>
                          <a:pt x="672" y="480"/>
                          <a:pt x="672" y="480"/>
                          <a:pt x="672" y="480"/>
                        </a:cubicBezTo>
                        <a:cubicBezTo>
                          <a:pt x="672" y="621"/>
                          <a:pt x="557" y="736"/>
                          <a:pt x="416" y="736"/>
                        </a:cubicBezTo>
                        <a:cubicBezTo>
                          <a:pt x="275" y="736"/>
                          <a:pt x="160" y="621"/>
                          <a:pt x="160" y="480"/>
                        </a:cubicBezTo>
                        <a:close/>
                        <a:moveTo>
                          <a:pt x="416" y="800"/>
                        </a:moveTo>
                        <a:cubicBezTo>
                          <a:pt x="449" y="800"/>
                          <a:pt x="482" y="795"/>
                          <a:pt x="512" y="785"/>
                        </a:cubicBezTo>
                        <a:cubicBezTo>
                          <a:pt x="512" y="844"/>
                          <a:pt x="512" y="844"/>
                          <a:pt x="512" y="844"/>
                        </a:cubicBezTo>
                        <a:cubicBezTo>
                          <a:pt x="480" y="860"/>
                          <a:pt x="480" y="860"/>
                          <a:pt x="480" y="860"/>
                        </a:cubicBezTo>
                        <a:cubicBezTo>
                          <a:pt x="430" y="835"/>
                          <a:pt x="430" y="835"/>
                          <a:pt x="430" y="835"/>
                        </a:cubicBezTo>
                        <a:cubicBezTo>
                          <a:pt x="430" y="835"/>
                          <a:pt x="429" y="835"/>
                          <a:pt x="428" y="835"/>
                        </a:cubicBezTo>
                        <a:cubicBezTo>
                          <a:pt x="426" y="834"/>
                          <a:pt x="424" y="834"/>
                          <a:pt x="422" y="833"/>
                        </a:cubicBezTo>
                        <a:cubicBezTo>
                          <a:pt x="420" y="833"/>
                          <a:pt x="418" y="832"/>
                          <a:pt x="416" y="832"/>
                        </a:cubicBezTo>
                        <a:cubicBezTo>
                          <a:pt x="414" y="832"/>
                          <a:pt x="412" y="833"/>
                          <a:pt x="410" y="833"/>
                        </a:cubicBezTo>
                        <a:cubicBezTo>
                          <a:pt x="408" y="834"/>
                          <a:pt x="406" y="834"/>
                          <a:pt x="404" y="835"/>
                        </a:cubicBezTo>
                        <a:cubicBezTo>
                          <a:pt x="403" y="835"/>
                          <a:pt x="402" y="835"/>
                          <a:pt x="402" y="835"/>
                        </a:cubicBezTo>
                        <a:cubicBezTo>
                          <a:pt x="352" y="860"/>
                          <a:pt x="352" y="860"/>
                          <a:pt x="352" y="860"/>
                        </a:cubicBezTo>
                        <a:cubicBezTo>
                          <a:pt x="320" y="844"/>
                          <a:pt x="320" y="844"/>
                          <a:pt x="320" y="844"/>
                        </a:cubicBezTo>
                        <a:cubicBezTo>
                          <a:pt x="320" y="785"/>
                          <a:pt x="320" y="785"/>
                          <a:pt x="320" y="785"/>
                        </a:cubicBezTo>
                        <a:cubicBezTo>
                          <a:pt x="350" y="795"/>
                          <a:pt x="383" y="800"/>
                          <a:pt x="416" y="80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6012" tIns="48007" rIns="96012" bIns="480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altLang="zh-CN" sz="1891" dirty="0"/>
                  </a:p>
                </p:txBody>
              </p:sp>
              <p:sp>
                <p:nvSpPr>
                  <p:cNvPr id="454" name="Freeform 12">
                    <a:extLst>
                      <a:ext uri="{FF2B5EF4-FFF2-40B4-BE49-F238E27FC236}">
                        <a16:creationId xmlns:a16="http://schemas.microsoft.com/office/drawing/2014/main" id="{C09AEAD1-6A93-98D1-C982-AC7F9F02A3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2488" y="4086226"/>
                    <a:ext cx="28575" cy="28575"/>
                  </a:xfrm>
                  <a:custGeom>
                    <a:avLst/>
                    <a:gdLst>
                      <a:gd name="T0" fmla="*/ 32 w 64"/>
                      <a:gd name="T1" fmla="*/ 0 h 64"/>
                      <a:gd name="T2" fmla="*/ 32 w 64"/>
                      <a:gd name="T3" fmla="*/ 0 h 64"/>
                      <a:gd name="T4" fmla="*/ 0 w 64"/>
                      <a:gd name="T5" fmla="*/ 32 h 64"/>
                      <a:gd name="T6" fmla="*/ 32 w 64"/>
                      <a:gd name="T7" fmla="*/ 64 h 64"/>
                      <a:gd name="T8" fmla="*/ 64 w 64"/>
                      <a:gd name="T9" fmla="*/ 32 h 64"/>
                      <a:gd name="T10" fmla="*/ 32 w 64"/>
                      <a:gd name="T11" fmla="*/ 0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64" h="64">
                        <a:moveTo>
                          <a:pt x="32" y="0"/>
                        </a:moveTo>
                        <a:cubicBezTo>
                          <a:pt x="32" y="0"/>
                          <a:pt x="32" y="0"/>
                          <a:pt x="32" y="0"/>
                        </a:cubicBezTo>
                        <a:cubicBezTo>
                          <a:pt x="14" y="0"/>
                          <a:pt x="0" y="14"/>
                          <a:pt x="0" y="32"/>
                        </a:cubicBezTo>
                        <a:cubicBezTo>
                          <a:pt x="0" y="50"/>
                          <a:pt x="14" y="64"/>
                          <a:pt x="32" y="64"/>
                        </a:cubicBezTo>
                        <a:cubicBezTo>
                          <a:pt x="50" y="64"/>
                          <a:pt x="64" y="50"/>
                          <a:pt x="64" y="32"/>
                        </a:cubicBezTo>
                        <a:cubicBezTo>
                          <a:pt x="64" y="14"/>
                          <a:pt x="50" y="0"/>
                          <a:pt x="32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6012" tIns="48007" rIns="96012" bIns="480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altLang="zh-CN" sz="1891" dirty="0"/>
                  </a:p>
                </p:txBody>
              </p:sp>
            </p:grpSp>
          </p:grpSp>
        </p:grpSp>
        <p:sp>
          <p:nvSpPr>
            <p:cNvPr id="455" name="TextBox 454">
              <a:extLst>
                <a:ext uri="{FF2B5EF4-FFF2-40B4-BE49-F238E27FC236}">
                  <a16:creationId xmlns:a16="http://schemas.microsoft.com/office/drawing/2014/main" id="{F13A87E6-EEBE-BA18-1BE1-8E7850B95892}"/>
                </a:ext>
              </a:extLst>
            </p:cNvPr>
            <p:cNvSpPr txBox="1"/>
            <p:nvPr/>
          </p:nvSpPr>
          <p:spPr>
            <a:xfrm>
              <a:off x="2554115" y="3370170"/>
              <a:ext cx="1148540" cy="166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pt-BR" altLang="zh-CN" sz="1100" b="1" kern="0" dirty="0">
                  <a:solidFill>
                    <a:schemeClr val="tx1">
                      <a:lumMod val="100000"/>
                    </a:schemeClr>
                  </a:solidFill>
                  <a:cs typeface="Calibri" panose="020F0502020204030204" pitchFamily="34" charset="0"/>
                </a:rPr>
                <a:t>Cliente (PF ou PJ)</a:t>
              </a:r>
            </a:p>
          </p:txBody>
        </p:sp>
        <p:grpSp>
          <p:nvGrpSpPr>
            <p:cNvPr id="456" name="Group 455">
              <a:extLst>
                <a:ext uri="{FF2B5EF4-FFF2-40B4-BE49-F238E27FC236}">
                  <a16:creationId xmlns:a16="http://schemas.microsoft.com/office/drawing/2014/main" id="{E3E13180-2CDE-F9DF-E8D5-5732DFF513C2}"/>
                </a:ext>
              </a:extLst>
            </p:cNvPr>
            <p:cNvGrpSpPr/>
            <p:nvPr/>
          </p:nvGrpSpPr>
          <p:grpSpPr>
            <a:xfrm>
              <a:off x="4778758" y="2873978"/>
              <a:ext cx="474350" cy="474350"/>
              <a:chOff x="4983587" y="2972285"/>
              <a:chExt cx="816844" cy="816844"/>
            </a:xfrm>
          </p:grpSpPr>
          <p:sp>
            <p:nvSpPr>
              <p:cNvPr id="457" name="Oval 456">
                <a:extLst>
                  <a:ext uri="{FF2B5EF4-FFF2-40B4-BE49-F238E27FC236}">
                    <a16:creationId xmlns:a16="http://schemas.microsoft.com/office/drawing/2014/main" id="{0D52F3BD-EB15-E265-692A-3DC06BC355A3}"/>
                  </a:ext>
                </a:extLst>
              </p:cNvPr>
              <p:cNvSpPr/>
              <p:nvPr/>
            </p:nvSpPr>
            <p:spPr>
              <a:xfrm>
                <a:off x="4983587" y="2972285"/>
                <a:ext cx="816844" cy="816844"/>
              </a:xfrm>
              <a:prstGeom prst="ellipse">
                <a:avLst/>
              </a:prstGeom>
              <a:solidFill>
                <a:schemeClr val="accent2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809" tIns="76809" rIns="76809" bIns="76809" rtlCol="0" anchor="ctr"/>
              <a:lstStyle/>
              <a:p>
                <a:pPr algn="ctr"/>
                <a:endParaRPr lang="pt-BR" altLang="zh-CN" sz="1051" kern="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58" name="Group 457">
                <a:extLst>
                  <a:ext uri="{FF2B5EF4-FFF2-40B4-BE49-F238E27FC236}">
                    <a16:creationId xmlns:a16="http://schemas.microsoft.com/office/drawing/2014/main" id="{55712349-60E2-A6FF-58BB-F638CC0271E5}"/>
                  </a:ext>
                </a:extLst>
              </p:cNvPr>
              <p:cNvGrpSpPr/>
              <p:nvPr/>
            </p:nvGrpSpPr>
            <p:grpSpPr>
              <a:xfrm>
                <a:off x="5182671" y="3160417"/>
                <a:ext cx="418675" cy="440581"/>
                <a:chOff x="4265613" y="3578225"/>
                <a:chExt cx="568325" cy="568325"/>
              </a:xfrm>
              <a:solidFill>
                <a:schemeClr val="bg1"/>
              </a:solidFill>
            </p:grpSpPr>
            <p:sp>
              <p:nvSpPr>
                <p:cNvPr id="459" name="Freeform 16">
                  <a:extLst>
                    <a:ext uri="{FF2B5EF4-FFF2-40B4-BE49-F238E27FC236}">
                      <a16:creationId xmlns:a16="http://schemas.microsoft.com/office/drawing/2014/main" id="{9627899F-E248-B61B-5290-B41E97E39A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65613" y="3578225"/>
                  <a:ext cx="568325" cy="568325"/>
                </a:xfrm>
                <a:custGeom>
                  <a:avLst/>
                  <a:gdLst>
                    <a:gd name="T0" fmla="*/ 1856 w 1984"/>
                    <a:gd name="T1" fmla="*/ 1792 h 1984"/>
                    <a:gd name="T2" fmla="*/ 1760 w 1984"/>
                    <a:gd name="T3" fmla="*/ 704 h 1984"/>
                    <a:gd name="T4" fmla="*/ 1408 w 1984"/>
                    <a:gd name="T5" fmla="*/ 448 h 1984"/>
                    <a:gd name="T6" fmla="*/ 1463 w 1984"/>
                    <a:gd name="T7" fmla="*/ 192 h 1984"/>
                    <a:gd name="T8" fmla="*/ 1066 w 1984"/>
                    <a:gd name="T9" fmla="*/ 0 h 1984"/>
                    <a:gd name="T10" fmla="*/ 630 w 1984"/>
                    <a:gd name="T11" fmla="*/ 192 h 1984"/>
                    <a:gd name="T12" fmla="*/ 436 w 1984"/>
                    <a:gd name="T13" fmla="*/ 448 h 1984"/>
                    <a:gd name="T14" fmla="*/ 576 w 1984"/>
                    <a:gd name="T15" fmla="*/ 704 h 1984"/>
                    <a:gd name="T16" fmla="*/ 128 w 1984"/>
                    <a:gd name="T17" fmla="*/ 800 h 1984"/>
                    <a:gd name="T18" fmla="*/ 96 w 1984"/>
                    <a:gd name="T19" fmla="*/ 1792 h 1984"/>
                    <a:gd name="T20" fmla="*/ 0 w 1984"/>
                    <a:gd name="T21" fmla="*/ 1984 h 1984"/>
                    <a:gd name="T22" fmla="*/ 1984 w 1984"/>
                    <a:gd name="T23" fmla="*/ 1888 h 1984"/>
                    <a:gd name="T24" fmla="*/ 1760 w 1984"/>
                    <a:gd name="T25" fmla="*/ 768 h 1984"/>
                    <a:gd name="T26" fmla="*/ 1792 w 1984"/>
                    <a:gd name="T27" fmla="*/ 1792 h 1984"/>
                    <a:gd name="T28" fmla="*/ 1408 w 1984"/>
                    <a:gd name="T29" fmla="*/ 768 h 1984"/>
                    <a:gd name="T30" fmla="*/ 567 w 1984"/>
                    <a:gd name="T31" fmla="*/ 256 h 1984"/>
                    <a:gd name="T32" fmla="*/ 938 w 1984"/>
                    <a:gd name="T33" fmla="*/ 64 h 1984"/>
                    <a:gd name="T34" fmla="*/ 1334 w 1984"/>
                    <a:gd name="T35" fmla="*/ 256 h 1984"/>
                    <a:gd name="T36" fmla="*/ 1460 w 1984"/>
                    <a:gd name="T37" fmla="*/ 384 h 1984"/>
                    <a:gd name="T38" fmla="*/ 567 w 1984"/>
                    <a:gd name="T39" fmla="*/ 256 h 1984"/>
                    <a:gd name="T40" fmla="*/ 1344 w 1984"/>
                    <a:gd name="T41" fmla="*/ 1792 h 1984"/>
                    <a:gd name="T42" fmla="*/ 1280 w 1984"/>
                    <a:gd name="T43" fmla="*/ 1220 h 1984"/>
                    <a:gd name="T44" fmla="*/ 992 w 1984"/>
                    <a:gd name="T45" fmla="*/ 1023 h 1984"/>
                    <a:gd name="T46" fmla="*/ 704 w 1984"/>
                    <a:gd name="T47" fmla="*/ 1220 h 1984"/>
                    <a:gd name="T48" fmla="*/ 640 w 1984"/>
                    <a:gd name="T49" fmla="*/ 1792 h 1984"/>
                    <a:gd name="T50" fmla="*/ 1344 w 1984"/>
                    <a:gd name="T51" fmla="*/ 448 h 1984"/>
                    <a:gd name="T52" fmla="*/ 1024 w 1984"/>
                    <a:gd name="T53" fmla="*/ 1408 h 1984"/>
                    <a:gd name="T54" fmla="*/ 1216 w 1984"/>
                    <a:gd name="T55" fmla="*/ 1280 h 1984"/>
                    <a:gd name="T56" fmla="*/ 1216 w 1984"/>
                    <a:gd name="T57" fmla="*/ 1472 h 1984"/>
                    <a:gd name="T58" fmla="*/ 1024 w 1984"/>
                    <a:gd name="T59" fmla="*/ 1600 h 1984"/>
                    <a:gd name="T60" fmla="*/ 1216 w 1984"/>
                    <a:gd name="T61" fmla="*/ 1472 h 1984"/>
                    <a:gd name="T62" fmla="*/ 1024 w 1984"/>
                    <a:gd name="T63" fmla="*/ 1097 h 1984"/>
                    <a:gd name="T64" fmla="*/ 1216 w 1984"/>
                    <a:gd name="T65" fmla="*/ 1216 h 1984"/>
                    <a:gd name="T66" fmla="*/ 960 w 1984"/>
                    <a:gd name="T67" fmla="*/ 1216 h 1984"/>
                    <a:gd name="T68" fmla="*/ 841 w 1984"/>
                    <a:gd name="T69" fmla="*/ 1127 h 1984"/>
                    <a:gd name="T70" fmla="*/ 960 w 1984"/>
                    <a:gd name="T71" fmla="*/ 1216 h 1984"/>
                    <a:gd name="T72" fmla="*/ 960 w 1984"/>
                    <a:gd name="T73" fmla="*/ 1280 h 1984"/>
                    <a:gd name="T74" fmla="*/ 768 w 1984"/>
                    <a:gd name="T75" fmla="*/ 1408 h 1984"/>
                    <a:gd name="T76" fmla="*/ 768 w 1984"/>
                    <a:gd name="T77" fmla="*/ 1472 h 1984"/>
                    <a:gd name="T78" fmla="*/ 960 w 1984"/>
                    <a:gd name="T79" fmla="*/ 1600 h 1984"/>
                    <a:gd name="T80" fmla="*/ 768 w 1984"/>
                    <a:gd name="T81" fmla="*/ 1472 h 1984"/>
                    <a:gd name="T82" fmla="*/ 960 w 1984"/>
                    <a:gd name="T83" fmla="*/ 1664 h 1984"/>
                    <a:gd name="T84" fmla="*/ 768 w 1984"/>
                    <a:gd name="T85" fmla="*/ 1792 h 1984"/>
                    <a:gd name="T86" fmla="*/ 1024 w 1984"/>
                    <a:gd name="T87" fmla="*/ 1664 h 1984"/>
                    <a:gd name="T88" fmla="*/ 1216 w 1984"/>
                    <a:gd name="T89" fmla="*/ 1792 h 1984"/>
                    <a:gd name="T90" fmla="*/ 1024 w 1984"/>
                    <a:gd name="T91" fmla="*/ 1664 h 1984"/>
                    <a:gd name="T92" fmla="*/ 224 w 1984"/>
                    <a:gd name="T93" fmla="*/ 768 h 1984"/>
                    <a:gd name="T94" fmla="*/ 576 w 1984"/>
                    <a:gd name="T95" fmla="*/ 1792 h 1984"/>
                    <a:gd name="T96" fmla="*/ 192 w 1984"/>
                    <a:gd name="T97" fmla="*/ 800 h 1984"/>
                    <a:gd name="T98" fmla="*/ 64 w 1984"/>
                    <a:gd name="T99" fmla="*/ 1920 h 1984"/>
                    <a:gd name="T100" fmla="*/ 96 w 1984"/>
                    <a:gd name="T101" fmla="*/ 1856 h 1984"/>
                    <a:gd name="T102" fmla="*/ 1920 w 1984"/>
                    <a:gd name="T103" fmla="*/ 1888 h 19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984" h="1984">
                      <a:moveTo>
                        <a:pt x="1888" y="1792"/>
                      </a:moveTo>
                      <a:cubicBezTo>
                        <a:pt x="1856" y="1792"/>
                        <a:pt x="1856" y="1792"/>
                        <a:pt x="1856" y="1792"/>
                      </a:cubicBezTo>
                      <a:cubicBezTo>
                        <a:pt x="1856" y="800"/>
                        <a:pt x="1856" y="800"/>
                        <a:pt x="1856" y="800"/>
                      </a:cubicBezTo>
                      <a:cubicBezTo>
                        <a:pt x="1856" y="747"/>
                        <a:pt x="1813" y="704"/>
                        <a:pt x="1760" y="704"/>
                      </a:cubicBezTo>
                      <a:cubicBezTo>
                        <a:pt x="1408" y="704"/>
                        <a:pt x="1408" y="704"/>
                        <a:pt x="1408" y="704"/>
                      </a:cubicBezTo>
                      <a:cubicBezTo>
                        <a:pt x="1408" y="448"/>
                        <a:pt x="1408" y="448"/>
                        <a:pt x="1408" y="448"/>
                      </a:cubicBezTo>
                      <a:cubicBezTo>
                        <a:pt x="1548" y="448"/>
                        <a:pt x="1548" y="448"/>
                        <a:pt x="1548" y="448"/>
                      </a:cubicBezTo>
                      <a:cubicBezTo>
                        <a:pt x="1463" y="192"/>
                        <a:pt x="1463" y="192"/>
                        <a:pt x="1463" y="192"/>
                      </a:cubicBezTo>
                      <a:cubicBezTo>
                        <a:pt x="1354" y="192"/>
                        <a:pt x="1354" y="192"/>
                        <a:pt x="1354" y="192"/>
                      </a:cubicBezTo>
                      <a:cubicBezTo>
                        <a:pt x="1066" y="0"/>
                        <a:pt x="1066" y="0"/>
                        <a:pt x="1066" y="0"/>
                      </a:cubicBezTo>
                      <a:cubicBezTo>
                        <a:pt x="918" y="0"/>
                        <a:pt x="918" y="0"/>
                        <a:pt x="918" y="0"/>
                      </a:cubicBezTo>
                      <a:cubicBezTo>
                        <a:pt x="630" y="192"/>
                        <a:pt x="630" y="192"/>
                        <a:pt x="630" y="192"/>
                      </a:cubicBezTo>
                      <a:cubicBezTo>
                        <a:pt x="521" y="192"/>
                        <a:pt x="521" y="192"/>
                        <a:pt x="521" y="192"/>
                      </a:cubicBezTo>
                      <a:cubicBezTo>
                        <a:pt x="436" y="448"/>
                        <a:pt x="436" y="448"/>
                        <a:pt x="436" y="448"/>
                      </a:cubicBezTo>
                      <a:cubicBezTo>
                        <a:pt x="576" y="448"/>
                        <a:pt x="576" y="448"/>
                        <a:pt x="576" y="448"/>
                      </a:cubicBezTo>
                      <a:cubicBezTo>
                        <a:pt x="576" y="704"/>
                        <a:pt x="576" y="704"/>
                        <a:pt x="576" y="704"/>
                      </a:cubicBezTo>
                      <a:cubicBezTo>
                        <a:pt x="224" y="704"/>
                        <a:pt x="224" y="704"/>
                        <a:pt x="224" y="704"/>
                      </a:cubicBezTo>
                      <a:cubicBezTo>
                        <a:pt x="171" y="704"/>
                        <a:pt x="128" y="747"/>
                        <a:pt x="128" y="800"/>
                      </a:cubicBezTo>
                      <a:cubicBezTo>
                        <a:pt x="128" y="1792"/>
                        <a:pt x="128" y="1792"/>
                        <a:pt x="128" y="1792"/>
                      </a:cubicBezTo>
                      <a:cubicBezTo>
                        <a:pt x="96" y="1792"/>
                        <a:pt x="96" y="1792"/>
                        <a:pt x="96" y="1792"/>
                      </a:cubicBezTo>
                      <a:cubicBezTo>
                        <a:pt x="43" y="1792"/>
                        <a:pt x="0" y="1835"/>
                        <a:pt x="0" y="1888"/>
                      </a:cubicBezTo>
                      <a:cubicBezTo>
                        <a:pt x="0" y="1984"/>
                        <a:pt x="0" y="1984"/>
                        <a:pt x="0" y="1984"/>
                      </a:cubicBezTo>
                      <a:cubicBezTo>
                        <a:pt x="1984" y="1984"/>
                        <a:pt x="1984" y="1984"/>
                        <a:pt x="1984" y="1984"/>
                      </a:cubicBezTo>
                      <a:cubicBezTo>
                        <a:pt x="1984" y="1888"/>
                        <a:pt x="1984" y="1888"/>
                        <a:pt x="1984" y="1888"/>
                      </a:cubicBezTo>
                      <a:cubicBezTo>
                        <a:pt x="1984" y="1835"/>
                        <a:pt x="1941" y="1792"/>
                        <a:pt x="1888" y="1792"/>
                      </a:cubicBezTo>
                      <a:close/>
                      <a:moveTo>
                        <a:pt x="1760" y="768"/>
                      </a:moveTo>
                      <a:cubicBezTo>
                        <a:pt x="1778" y="768"/>
                        <a:pt x="1792" y="782"/>
                        <a:pt x="1792" y="800"/>
                      </a:cubicBezTo>
                      <a:cubicBezTo>
                        <a:pt x="1792" y="1792"/>
                        <a:pt x="1792" y="1792"/>
                        <a:pt x="1792" y="1792"/>
                      </a:cubicBezTo>
                      <a:cubicBezTo>
                        <a:pt x="1408" y="1792"/>
                        <a:pt x="1408" y="1792"/>
                        <a:pt x="1408" y="1792"/>
                      </a:cubicBezTo>
                      <a:cubicBezTo>
                        <a:pt x="1408" y="768"/>
                        <a:pt x="1408" y="768"/>
                        <a:pt x="1408" y="768"/>
                      </a:cubicBezTo>
                      <a:lnTo>
                        <a:pt x="1760" y="768"/>
                      </a:lnTo>
                      <a:close/>
                      <a:moveTo>
                        <a:pt x="567" y="256"/>
                      </a:moveTo>
                      <a:cubicBezTo>
                        <a:pt x="650" y="256"/>
                        <a:pt x="650" y="256"/>
                        <a:pt x="650" y="256"/>
                      </a:cubicBezTo>
                      <a:cubicBezTo>
                        <a:pt x="938" y="64"/>
                        <a:pt x="938" y="64"/>
                        <a:pt x="938" y="64"/>
                      </a:cubicBezTo>
                      <a:cubicBezTo>
                        <a:pt x="1046" y="64"/>
                        <a:pt x="1046" y="64"/>
                        <a:pt x="1046" y="64"/>
                      </a:cubicBezTo>
                      <a:cubicBezTo>
                        <a:pt x="1334" y="256"/>
                        <a:pt x="1334" y="256"/>
                        <a:pt x="1334" y="256"/>
                      </a:cubicBezTo>
                      <a:cubicBezTo>
                        <a:pt x="1417" y="256"/>
                        <a:pt x="1417" y="256"/>
                        <a:pt x="1417" y="256"/>
                      </a:cubicBezTo>
                      <a:cubicBezTo>
                        <a:pt x="1460" y="384"/>
                        <a:pt x="1460" y="384"/>
                        <a:pt x="1460" y="384"/>
                      </a:cubicBezTo>
                      <a:cubicBezTo>
                        <a:pt x="524" y="384"/>
                        <a:pt x="524" y="384"/>
                        <a:pt x="524" y="384"/>
                      </a:cubicBezTo>
                      <a:lnTo>
                        <a:pt x="567" y="256"/>
                      </a:lnTo>
                      <a:close/>
                      <a:moveTo>
                        <a:pt x="1344" y="448"/>
                      </a:moveTo>
                      <a:cubicBezTo>
                        <a:pt x="1344" y="1792"/>
                        <a:pt x="1344" y="1792"/>
                        <a:pt x="1344" y="1792"/>
                      </a:cubicBezTo>
                      <a:cubicBezTo>
                        <a:pt x="1280" y="1792"/>
                        <a:pt x="1280" y="1792"/>
                        <a:pt x="1280" y="1792"/>
                      </a:cubicBezTo>
                      <a:cubicBezTo>
                        <a:pt x="1280" y="1220"/>
                        <a:pt x="1280" y="1220"/>
                        <a:pt x="1280" y="1220"/>
                      </a:cubicBezTo>
                      <a:cubicBezTo>
                        <a:pt x="1280" y="1146"/>
                        <a:pt x="1230" y="1083"/>
                        <a:pt x="1159" y="1065"/>
                      </a:cubicBezTo>
                      <a:cubicBezTo>
                        <a:pt x="992" y="1023"/>
                        <a:pt x="992" y="1023"/>
                        <a:pt x="992" y="1023"/>
                      </a:cubicBezTo>
                      <a:cubicBezTo>
                        <a:pt x="825" y="1065"/>
                        <a:pt x="825" y="1065"/>
                        <a:pt x="825" y="1065"/>
                      </a:cubicBezTo>
                      <a:cubicBezTo>
                        <a:pt x="754" y="1083"/>
                        <a:pt x="704" y="1146"/>
                        <a:pt x="704" y="1220"/>
                      </a:cubicBezTo>
                      <a:cubicBezTo>
                        <a:pt x="704" y="1792"/>
                        <a:pt x="704" y="1792"/>
                        <a:pt x="704" y="1792"/>
                      </a:cubicBezTo>
                      <a:cubicBezTo>
                        <a:pt x="640" y="1792"/>
                        <a:pt x="640" y="1792"/>
                        <a:pt x="640" y="1792"/>
                      </a:cubicBezTo>
                      <a:cubicBezTo>
                        <a:pt x="640" y="448"/>
                        <a:pt x="640" y="448"/>
                        <a:pt x="640" y="448"/>
                      </a:cubicBezTo>
                      <a:lnTo>
                        <a:pt x="1344" y="448"/>
                      </a:lnTo>
                      <a:close/>
                      <a:moveTo>
                        <a:pt x="1216" y="1408"/>
                      </a:moveTo>
                      <a:cubicBezTo>
                        <a:pt x="1024" y="1408"/>
                        <a:pt x="1024" y="1408"/>
                        <a:pt x="1024" y="1408"/>
                      </a:cubicBezTo>
                      <a:cubicBezTo>
                        <a:pt x="1024" y="1280"/>
                        <a:pt x="1024" y="1280"/>
                        <a:pt x="1024" y="1280"/>
                      </a:cubicBezTo>
                      <a:cubicBezTo>
                        <a:pt x="1216" y="1280"/>
                        <a:pt x="1216" y="1280"/>
                        <a:pt x="1216" y="1280"/>
                      </a:cubicBezTo>
                      <a:lnTo>
                        <a:pt x="1216" y="1408"/>
                      </a:lnTo>
                      <a:close/>
                      <a:moveTo>
                        <a:pt x="1216" y="1472"/>
                      </a:moveTo>
                      <a:cubicBezTo>
                        <a:pt x="1216" y="1600"/>
                        <a:pt x="1216" y="1600"/>
                        <a:pt x="1216" y="1600"/>
                      </a:cubicBezTo>
                      <a:cubicBezTo>
                        <a:pt x="1024" y="1600"/>
                        <a:pt x="1024" y="1600"/>
                        <a:pt x="1024" y="1600"/>
                      </a:cubicBezTo>
                      <a:cubicBezTo>
                        <a:pt x="1024" y="1472"/>
                        <a:pt x="1024" y="1472"/>
                        <a:pt x="1024" y="1472"/>
                      </a:cubicBezTo>
                      <a:lnTo>
                        <a:pt x="1216" y="1472"/>
                      </a:lnTo>
                      <a:close/>
                      <a:moveTo>
                        <a:pt x="1024" y="1216"/>
                      </a:moveTo>
                      <a:cubicBezTo>
                        <a:pt x="1024" y="1097"/>
                        <a:pt x="1024" y="1097"/>
                        <a:pt x="1024" y="1097"/>
                      </a:cubicBezTo>
                      <a:cubicBezTo>
                        <a:pt x="1143" y="1127"/>
                        <a:pt x="1143" y="1127"/>
                        <a:pt x="1143" y="1127"/>
                      </a:cubicBezTo>
                      <a:cubicBezTo>
                        <a:pt x="1185" y="1137"/>
                        <a:pt x="1214" y="1174"/>
                        <a:pt x="1216" y="1216"/>
                      </a:cubicBezTo>
                      <a:lnTo>
                        <a:pt x="1024" y="1216"/>
                      </a:lnTo>
                      <a:close/>
                      <a:moveTo>
                        <a:pt x="960" y="1216"/>
                      </a:moveTo>
                      <a:cubicBezTo>
                        <a:pt x="768" y="1216"/>
                        <a:pt x="768" y="1216"/>
                        <a:pt x="768" y="1216"/>
                      </a:cubicBezTo>
                      <a:cubicBezTo>
                        <a:pt x="770" y="1174"/>
                        <a:pt x="799" y="1137"/>
                        <a:pt x="841" y="1127"/>
                      </a:cubicBezTo>
                      <a:cubicBezTo>
                        <a:pt x="960" y="1097"/>
                        <a:pt x="960" y="1097"/>
                        <a:pt x="960" y="1097"/>
                      </a:cubicBezTo>
                      <a:lnTo>
                        <a:pt x="960" y="1216"/>
                      </a:lnTo>
                      <a:close/>
                      <a:moveTo>
                        <a:pt x="768" y="1280"/>
                      </a:moveTo>
                      <a:cubicBezTo>
                        <a:pt x="960" y="1280"/>
                        <a:pt x="960" y="1280"/>
                        <a:pt x="960" y="1280"/>
                      </a:cubicBezTo>
                      <a:cubicBezTo>
                        <a:pt x="960" y="1408"/>
                        <a:pt x="960" y="1408"/>
                        <a:pt x="960" y="1408"/>
                      </a:cubicBezTo>
                      <a:cubicBezTo>
                        <a:pt x="768" y="1408"/>
                        <a:pt x="768" y="1408"/>
                        <a:pt x="768" y="1408"/>
                      </a:cubicBezTo>
                      <a:lnTo>
                        <a:pt x="768" y="1280"/>
                      </a:lnTo>
                      <a:close/>
                      <a:moveTo>
                        <a:pt x="768" y="1472"/>
                      </a:moveTo>
                      <a:cubicBezTo>
                        <a:pt x="960" y="1472"/>
                        <a:pt x="960" y="1472"/>
                        <a:pt x="960" y="1472"/>
                      </a:cubicBezTo>
                      <a:cubicBezTo>
                        <a:pt x="960" y="1600"/>
                        <a:pt x="960" y="1600"/>
                        <a:pt x="960" y="1600"/>
                      </a:cubicBezTo>
                      <a:cubicBezTo>
                        <a:pt x="768" y="1600"/>
                        <a:pt x="768" y="1600"/>
                        <a:pt x="768" y="1600"/>
                      </a:cubicBezTo>
                      <a:lnTo>
                        <a:pt x="768" y="1472"/>
                      </a:lnTo>
                      <a:close/>
                      <a:moveTo>
                        <a:pt x="768" y="1664"/>
                      </a:moveTo>
                      <a:cubicBezTo>
                        <a:pt x="960" y="1664"/>
                        <a:pt x="960" y="1664"/>
                        <a:pt x="960" y="1664"/>
                      </a:cubicBezTo>
                      <a:cubicBezTo>
                        <a:pt x="960" y="1792"/>
                        <a:pt x="960" y="1792"/>
                        <a:pt x="960" y="1792"/>
                      </a:cubicBezTo>
                      <a:cubicBezTo>
                        <a:pt x="768" y="1792"/>
                        <a:pt x="768" y="1792"/>
                        <a:pt x="768" y="1792"/>
                      </a:cubicBezTo>
                      <a:lnTo>
                        <a:pt x="768" y="1664"/>
                      </a:lnTo>
                      <a:close/>
                      <a:moveTo>
                        <a:pt x="1024" y="1664"/>
                      </a:moveTo>
                      <a:cubicBezTo>
                        <a:pt x="1216" y="1664"/>
                        <a:pt x="1216" y="1664"/>
                        <a:pt x="1216" y="1664"/>
                      </a:cubicBezTo>
                      <a:cubicBezTo>
                        <a:pt x="1216" y="1792"/>
                        <a:pt x="1216" y="1792"/>
                        <a:pt x="1216" y="1792"/>
                      </a:cubicBezTo>
                      <a:cubicBezTo>
                        <a:pt x="1024" y="1792"/>
                        <a:pt x="1024" y="1792"/>
                        <a:pt x="1024" y="1792"/>
                      </a:cubicBezTo>
                      <a:lnTo>
                        <a:pt x="1024" y="1664"/>
                      </a:lnTo>
                      <a:close/>
                      <a:moveTo>
                        <a:pt x="192" y="800"/>
                      </a:moveTo>
                      <a:cubicBezTo>
                        <a:pt x="192" y="782"/>
                        <a:pt x="206" y="768"/>
                        <a:pt x="224" y="768"/>
                      </a:cubicBezTo>
                      <a:cubicBezTo>
                        <a:pt x="576" y="768"/>
                        <a:pt x="576" y="768"/>
                        <a:pt x="576" y="768"/>
                      </a:cubicBezTo>
                      <a:cubicBezTo>
                        <a:pt x="576" y="1792"/>
                        <a:pt x="576" y="1792"/>
                        <a:pt x="576" y="1792"/>
                      </a:cubicBezTo>
                      <a:cubicBezTo>
                        <a:pt x="192" y="1792"/>
                        <a:pt x="192" y="1792"/>
                        <a:pt x="192" y="1792"/>
                      </a:cubicBezTo>
                      <a:lnTo>
                        <a:pt x="192" y="800"/>
                      </a:lnTo>
                      <a:close/>
                      <a:moveTo>
                        <a:pt x="1920" y="1920"/>
                      </a:moveTo>
                      <a:cubicBezTo>
                        <a:pt x="64" y="1920"/>
                        <a:pt x="64" y="1920"/>
                        <a:pt x="64" y="1920"/>
                      </a:cubicBezTo>
                      <a:cubicBezTo>
                        <a:pt x="64" y="1888"/>
                        <a:pt x="64" y="1888"/>
                        <a:pt x="64" y="1888"/>
                      </a:cubicBezTo>
                      <a:cubicBezTo>
                        <a:pt x="64" y="1870"/>
                        <a:pt x="78" y="1856"/>
                        <a:pt x="96" y="1856"/>
                      </a:cubicBezTo>
                      <a:cubicBezTo>
                        <a:pt x="1888" y="1856"/>
                        <a:pt x="1888" y="1856"/>
                        <a:pt x="1888" y="1856"/>
                      </a:cubicBezTo>
                      <a:cubicBezTo>
                        <a:pt x="1906" y="1856"/>
                        <a:pt x="1920" y="1870"/>
                        <a:pt x="1920" y="1888"/>
                      </a:cubicBezTo>
                      <a:lnTo>
                        <a:pt x="1920" y="19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460" name="Freeform 17">
                  <a:extLst>
                    <a:ext uri="{FF2B5EF4-FFF2-40B4-BE49-F238E27FC236}">
                      <a16:creationId xmlns:a16="http://schemas.microsoft.com/office/drawing/2014/main" id="{CFF6D6CB-F191-06FD-F91E-E9B8AA84E7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2788" y="3724275"/>
                  <a:ext cx="53975" cy="128588"/>
                </a:xfrm>
                <a:custGeom>
                  <a:avLst/>
                  <a:gdLst>
                    <a:gd name="T0" fmla="*/ 96 w 192"/>
                    <a:gd name="T1" fmla="*/ 320 h 448"/>
                    <a:gd name="T2" fmla="*/ 64 w 192"/>
                    <a:gd name="T3" fmla="*/ 288 h 448"/>
                    <a:gd name="T4" fmla="*/ 0 w 192"/>
                    <a:gd name="T5" fmla="*/ 288 h 448"/>
                    <a:gd name="T6" fmla="*/ 64 w 192"/>
                    <a:gd name="T7" fmla="*/ 378 h 448"/>
                    <a:gd name="T8" fmla="*/ 64 w 192"/>
                    <a:gd name="T9" fmla="*/ 448 h 448"/>
                    <a:gd name="T10" fmla="*/ 128 w 192"/>
                    <a:gd name="T11" fmla="*/ 448 h 448"/>
                    <a:gd name="T12" fmla="*/ 128 w 192"/>
                    <a:gd name="T13" fmla="*/ 384 h 448"/>
                    <a:gd name="T14" fmla="*/ 192 w 192"/>
                    <a:gd name="T15" fmla="*/ 384 h 448"/>
                    <a:gd name="T16" fmla="*/ 192 w 192"/>
                    <a:gd name="T17" fmla="*/ 288 h 448"/>
                    <a:gd name="T18" fmla="*/ 96 w 192"/>
                    <a:gd name="T19" fmla="*/ 192 h 448"/>
                    <a:gd name="T20" fmla="*/ 64 w 192"/>
                    <a:gd name="T21" fmla="*/ 160 h 448"/>
                    <a:gd name="T22" fmla="*/ 64 w 192"/>
                    <a:gd name="T23" fmla="*/ 128 h 448"/>
                    <a:gd name="T24" fmla="*/ 96 w 192"/>
                    <a:gd name="T25" fmla="*/ 128 h 448"/>
                    <a:gd name="T26" fmla="*/ 128 w 192"/>
                    <a:gd name="T27" fmla="*/ 160 h 448"/>
                    <a:gd name="T28" fmla="*/ 192 w 192"/>
                    <a:gd name="T29" fmla="*/ 160 h 448"/>
                    <a:gd name="T30" fmla="*/ 128 w 192"/>
                    <a:gd name="T31" fmla="*/ 70 h 448"/>
                    <a:gd name="T32" fmla="*/ 128 w 192"/>
                    <a:gd name="T33" fmla="*/ 0 h 448"/>
                    <a:gd name="T34" fmla="*/ 64 w 192"/>
                    <a:gd name="T35" fmla="*/ 0 h 448"/>
                    <a:gd name="T36" fmla="*/ 64 w 192"/>
                    <a:gd name="T37" fmla="*/ 64 h 448"/>
                    <a:gd name="T38" fmla="*/ 0 w 192"/>
                    <a:gd name="T39" fmla="*/ 64 h 448"/>
                    <a:gd name="T40" fmla="*/ 0 w 192"/>
                    <a:gd name="T41" fmla="*/ 160 h 448"/>
                    <a:gd name="T42" fmla="*/ 96 w 192"/>
                    <a:gd name="T43" fmla="*/ 256 h 448"/>
                    <a:gd name="T44" fmla="*/ 128 w 192"/>
                    <a:gd name="T45" fmla="*/ 288 h 448"/>
                    <a:gd name="T46" fmla="*/ 128 w 192"/>
                    <a:gd name="T47" fmla="*/ 320 h 448"/>
                    <a:gd name="T48" fmla="*/ 96 w 192"/>
                    <a:gd name="T49" fmla="*/ 320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2" h="448">
                      <a:moveTo>
                        <a:pt x="96" y="320"/>
                      </a:moveTo>
                      <a:cubicBezTo>
                        <a:pt x="78" y="320"/>
                        <a:pt x="64" y="306"/>
                        <a:pt x="64" y="288"/>
                      </a:cubicBezTo>
                      <a:cubicBezTo>
                        <a:pt x="0" y="288"/>
                        <a:pt x="0" y="288"/>
                        <a:pt x="0" y="288"/>
                      </a:cubicBezTo>
                      <a:cubicBezTo>
                        <a:pt x="0" y="330"/>
                        <a:pt x="27" y="365"/>
                        <a:pt x="64" y="378"/>
                      </a:cubicBezTo>
                      <a:cubicBezTo>
                        <a:pt x="64" y="448"/>
                        <a:pt x="64" y="448"/>
                        <a:pt x="64" y="448"/>
                      </a:cubicBezTo>
                      <a:cubicBezTo>
                        <a:pt x="128" y="448"/>
                        <a:pt x="128" y="448"/>
                        <a:pt x="128" y="448"/>
                      </a:cubicBezTo>
                      <a:cubicBezTo>
                        <a:pt x="128" y="384"/>
                        <a:pt x="128" y="384"/>
                        <a:pt x="128" y="384"/>
                      </a:cubicBezTo>
                      <a:cubicBezTo>
                        <a:pt x="192" y="384"/>
                        <a:pt x="192" y="384"/>
                        <a:pt x="192" y="384"/>
                      </a:cubicBezTo>
                      <a:cubicBezTo>
                        <a:pt x="192" y="288"/>
                        <a:pt x="192" y="288"/>
                        <a:pt x="192" y="288"/>
                      </a:cubicBezTo>
                      <a:cubicBezTo>
                        <a:pt x="192" y="235"/>
                        <a:pt x="149" y="192"/>
                        <a:pt x="96" y="192"/>
                      </a:cubicBezTo>
                      <a:cubicBezTo>
                        <a:pt x="78" y="192"/>
                        <a:pt x="64" y="178"/>
                        <a:pt x="64" y="160"/>
                      </a:cubicBezTo>
                      <a:cubicBezTo>
                        <a:pt x="64" y="128"/>
                        <a:pt x="64" y="128"/>
                        <a:pt x="64" y="128"/>
                      </a:cubicBezTo>
                      <a:cubicBezTo>
                        <a:pt x="96" y="128"/>
                        <a:pt x="96" y="128"/>
                        <a:pt x="96" y="128"/>
                      </a:cubicBezTo>
                      <a:cubicBezTo>
                        <a:pt x="114" y="128"/>
                        <a:pt x="128" y="142"/>
                        <a:pt x="128" y="160"/>
                      </a:cubicBezTo>
                      <a:cubicBezTo>
                        <a:pt x="192" y="160"/>
                        <a:pt x="192" y="160"/>
                        <a:pt x="192" y="160"/>
                      </a:cubicBezTo>
                      <a:cubicBezTo>
                        <a:pt x="192" y="118"/>
                        <a:pt x="165" y="83"/>
                        <a:pt x="128" y="7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64" y="64"/>
                        <a:pt x="64" y="64"/>
                        <a:pt x="64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160"/>
                        <a:pt x="0" y="160"/>
                        <a:pt x="0" y="160"/>
                      </a:cubicBezTo>
                      <a:cubicBezTo>
                        <a:pt x="0" y="213"/>
                        <a:pt x="43" y="256"/>
                        <a:pt x="96" y="256"/>
                      </a:cubicBezTo>
                      <a:cubicBezTo>
                        <a:pt x="114" y="256"/>
                        <a:pt x="128" y="270"/>
                        <a:pt x="128" y="288"/>
                      </a:cubicBezTo>
                      <a:cubicBezTo>
                        <a:pt x="128" y="320"/>
                        <a:pt x="128" y="320"/>
                        <a:pt x="128" y="320"/>
                      </a:cubicBezTo>
                      <a:lnTo>
                        <a:pt x="96" y="3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461" name="Freeform 18">
                  <a:extLst>
                    <a:ext uri="{FF2B5EF4-FFF2-40B4-BE49-F238E27FC236}">
                      <a16:creationId xmlns:a16="http://schemas.microsoft.com/office/drawing/2014/main" id="{92CCF2EE-7B58-D633-8AAA-32D7AD3E5E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87888" y="4000500"/>
                  <a:ext cx="73025" cy="73025"/>
                </a:xfrm>
                <a:custGeom>
                  <a:avLst/>
                  <a:gdLst>
                    <a:gd name="T0" fmla="*/ 46 w 46"/>
                    <a:gd name="T1" fmla="*/ 46 h 46"/>
                    <a:gd name="T2" fmla="*/ 46 w 46"/>
                    <a:gd name="T3" fmla="*/ 0 h 46"/>
                    <a:gd name="T4" fmla="*/ 0 w 46"/>
                    <a:gd name="T5" fmla="*/ 0 h 46"/>
                    <a:gd name="T6" fmla="*/ 0 w 46"/>
                    <a:gd name="T7" fmla="*/ 46 h 46"/>
                    <a:gd name="T8" fmla="*/ 46 w 46"/>
                    <a:gd name="T9" fmla="*/ 46 h 46"/>
                    <a:gd name="T10" fmla="*/ 11 w 46"/>
                    <a:gd name="T11" fmla="*/ 11 h 46"/>
                    <a:gd name="T12" fmla="*/ 34 w 46"/>
                    <a:gd name="T13" fmla="*/ 11 h 46"/>
                    <a:gd name="T14" fmla="*/ 34 w 46"/>
                    <a:gd name="T15" fmla="*/ 34 h 46"/>
                    <a:gd name="T16" fmla="*/ 11 w 46"/>
                    <a:gd name="T17" fmla="*/ 34 h 46"/>
                    <a:gd name="T18" fmla="*/ 11 w 46"/>
                    <a:gd name="T19" fmla="*/ 11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" h="46">
                      <a:moveTo>
                        <a:pt x="46" y="46"/>
                      </a:moveTo>
                      <a:lnTo>
                        <a:pt x="46" y="0"/>
                      </a:lnTo>
                      <a:lnTo>
                        <a:pt x="0" y="0"/>
                      </a:lnTo>
                      <a:lnTo>
                        <a:pt x="0" y="46"/>
                      </a:lnTo>
                      <a:lnTo>
                        <a:pt x="46" y="46"/>
                      </a:lnTo>
                      <a:close/>
                      <a:moveTo>
                        <a:pt x="11" y="11"/>
                      </a:moveTo>
                      <a:lnTo>
                        <a:pt x="34" y="11"/>
                      </a:lnTo>
                      <a:lnTo>
                        <a:pt x="34" y="34"/>
                      </a:lnTo>
                      <a:lnTo>
                        <a:pt x="11" y="34"/>
                      </a:lnTo>
                      <a:lnTo>
                        <a:pt x="11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462" name="Freeform 19">
                  <a:extLst>
                    <a:ext uri="{FF2B5EF4-FFF2-40B4-BE49-F238E27FC236}">
                      <a16:creationId xmlns:a16="http://schemas.microsoft.com/office/drawing/2014/main" id="{CDAAD632-58C3-3A2F-6FAA-F3647D253A7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87888" y="3908425"/>
                  <a:ext cx="73025" cy="73025"/>
                </a:xfrm>
                <a:custGeom>
                  <a:avLst/>
                  <a:gdLst>
                    <a:gd name="T0" fmla="*/ 46 w 46"/>
                    <a:gd name="T1" fmla="*/ 0 h 46"/>
                    <a:gd name="T2" fmla="*/ 0 w 46"/>
                    <a:gd name="T3" fmla="*/ 0 h 46"/>
                    <a:gd name="T4" fmla="*/ 0 w 46"/>
                    <a:gd name="T5" fmla="*/ 46 h 46"/>
                    <a:gd name="T6" fmla="*/ 46 w 46"/>
                    <a:gd name="T7" fmla="*/ 46 h 46"/>
                    <a:gd name="T8" fmla="*/ 46 w 46"/>
                    <a:gd name="T9" fmla="*/ 0 h 46"/>
                    <a:gd name="T10" fmla="*/ 34 w 46"/>
                    <a:gd name="T11" fmla="*/ 34 h 46"/>
                    <a:gd name="T12" fmla="*/ 11 w 46"/>
                    <a:gd name="T13" fmla="*/ 34 h 46"/>
                    <a:gd name="T14" fmla="*/ 11 w 46"/>
                    <a:gd name="T15" fmla="*/ 11 h 46"/>
                    <a:gd name="T16" fmla="*/ 34 w 46"/>
                    <a:gd name="T17" fmla="*/ 11 h 46"/>
                    <a:gd name="T18" fmla="*/ 34 w 46"/>
                    <a:gd name="T19" fmla="*/ 3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" h="46">
                      <a:moveTo>
                        <a:pt x="46" y="0"/>
                      </a:moveTo>
                      <a:lnTo>
                        <a:pt x="0" y="0"/>
                      </a:lnTo>
                      <a:lnTo>
                        <a:pt x="0" y="46"/>
                      </a:lnTo>
                      <a:lnTo>
                        <a:pt x="46" y="46"/>
                      </a:lnTo>
                      <a:lnTo>
                        <a:pt x="46" y="0"/>
                      </a:lnTo>
                      <a:close/>
                      <a:moveTo>
                        <a:pt x="34" y="34"/>
                      </a:moveTo>
                      <a:lnTo>
                        <a:pt x="11" y="34"/>
                      </a:lnTo>
                      <a:lnTo>
                        <a:pt x="11" y="11"/>
                      </a:lnTo>
                      <a:lnTo>
                        <a:pt x="34" y="11"/>
                      </a:lnTo>
                      <a:lnTo>
                        <a:pt x="34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463" name="Freeform 20">
                  <a:extLst>
                    <a:ext uri="{FF2B5EF4-FFF2-40B4-BE49-F238E27FC236}">
                      <a16:creationId xmlns:a16="http://schemas.microsoft.com/office/drawing/2014/main" id="{6D1073DB-DB25-E1C5-EDAD-2B1A287C0D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87888" y="3816350"/>
                  <a:ext cx="73025" cy="73025"/>
                </a:xfrm>
                <a:custGeom>
                  <a:avLst/>
                  <a:gdLst>
                    <a:gd name="T0" fmla="*/ 46 w 46"/>
                    <a:gd name="T1" fmla="*/ 0 h 46"/>
                    <a:gd name="T2" fmla="*/ 0 w 46"/>
                    <a:gd name="T3" fmla="*/ 0 h 46"/>
                    <a:gd name="T4" fmla="*/ 0 w 46"/>
                    <a:gd name="T5" fmla="*/ 46 h 46"/>
                    <a:gd name="T6" fmla="*/ 46 w 46"/>
                    <a:gd name="T7" fmla="*/ 46 h 46"/>
                    <a:gd name="T8" fmla="*/ 46 w 46"/>
                    <a:gd name="T9" fmla="*/ 0 h 46"/>
                    <a:gd name="T10" fmla="*/ 34 w 46"/>
                    <a:gd name="T11" fmla="*/ 35 h 46"/>
                    <a:gd name="T12" fmla="*/ 11 w 46"/>
                    <a:gd name="T13" fmla="*/ 35 h 46"/>
                    <a:gd name="T14" fmla="*/ 11 w 46"/>
                    <a:gd name="T15" fmla="*/ 12 h 46"/>
                    <a:gd name="T16" fmla="*/ 34 w 46"/>
                    <a:gd name="T17" fmla="*/ 12 h 46"/>
                    <a:gd name="T18" fmla="*/ 34 w 46"/>
                    <a:gd name="T19" fmla="*/ 35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" h="46">
                      <a:moveTo>
                        <a:pt x="46" y="0"/>
                      </a:moveTo>
                      <a:lnTo>
                        <a:pt x="0" y="0"/>
                      </a:lnTo>
                      <a:lnTo>
                        <a:pt x="0" y="46"/>
                      </a:lnTo>
                      <a:lnTo>
                        <a:pt x="46" y="46"/>
                      </a:lnTo>
                      <a:lnTo>
                        <a:pt x="46" y="0"/>
                      </a:lnTo>
                      <a:close/>
                      <a:moveTo>
                        <a:pt x="34" y="35"/>
                      </a:moveTo>
                      <a:lnTo>
                        <a:pt x="11" y="35"/>
                      </a:lnTo>
                      <a:lnTo>
                        <a:pt x="11" y="12"/>
                      </a:lnTo>
                      <a:lnTo>
                        <a:pt x="34" y="12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464" name="Freeform 21">
                  <a:extLst>
                    <a:ext uri="{FF2B5EF4-FFF2-40B4-BE49-F238E27FC236}">
                      <a16:creationId xmlns:a16="http://schemas.microsoft.com/office/drawing/2014/main" id="{2023A7BB-75CC-5D60-96F6-1232C12CAB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38638" y="4000500"/>
                  <a:ext cx="73025" cy="73025"/>
                </a:xfrm>
                <a:custGeom>
                  <a:avLst/>
                  <a:gdLst>
                    <a:gd name="T0" fmla="*/ 0 w 46"/>
                    <a:gd name="T1" fmla="*/ 46 h 46"/>
                    <a:gd name="T2" fmla="*/ 46 w 46"/>
                    <a:gd name="T3" fmla="*/ 46 h 46"/>
                    <a:gd name="T4" fmla="*/ 46 w 46"/>
                    <a:gd name="T5" fmla="*/ 0 h 46"/>
                    <a:gd name="T6" fmla="*/ 0 w 46"/>
                    <a:gd name="T7" fmla="*/ 0 h 46"/>
                    <a:gd name="T8" fmla="*/ 0 w 46"/>
                    <a:gd name="T9" fmla="*/ 46 h 46"/>
                    <a:gd name="T10" fmla="*/ 12 w 46"/>
                    <a:gd name="T11" fmla="*/ 11 h 46"/>
                    <a:gd name="T12" fmla="*/ 35 w 46"/>
                    <a:gd name="T13" fmla="*/ 11 h 46"/>
                    <a:gd name="T14" fmla="*/ 35 w 46"/>
                    <a:gd name="T15" fmla="*/ 34 h 46"/>
                    <a:gd name="T16" fmla="*/ 12 w 46"/>
                    <a:gd name="T17" fmla="*/ 34 h 46"/>
                    <a:gd name="T18" fmla="*/ 12 w 46"/>
                    <a:gd name="T19" fmla="*/ 11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" h="46">
                      <a:moveTo>
                        <a:pt x="0" y="46"/>
                      </a:moveTo>
                      <a:lnTo>
                        <a:pt x="46" y="46"/>
                      </a:lnTo>
                      <a:lnTo>
                        <a:pt x="46" y="0"/>
                      </a:lnTo>
                      <a:lnTo>
                        <a:pt x="0" y="0"/>
                      </a:lnTo>
                      <a:lnTo>
                        <a:pt x="0" y="46"/>
                      </a:lnTo>
                      <a:close/>
                      <a:moveTo>
                        <a:pt x="12" y="11"/>
                      </a:moveTo>
                      <a:lnTo>
                        <a:pt x="35" y="11"/>
                      </a:lnTo>
                      <a:lnTo>
                        <a:pt x="35" y="34"/>
                      </a:lnTo>
                      <a:lnTo>
                        <a:pt x="12" y="34"/>
                      </a:lnTo>
                      <a:lnTo>
                        <a:pt x="12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465" name="Freeform 22">
                  <a:extLst>
                    <a:ext uri="{FF2B5EF4-FFF2-40B4-BE49-F238E27FC236}">
                      <a16:creationId xmlns:a16="http://schemas.microsoft.com/office/drawing/2014/main" id="{E12E918B-1D51-AC87-5411-5A40E985CE9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38638" y="3908425"/>
                  <a:ext cx="73025" cy="73025"/>
                </a:xfrm>
                <a:custGeom>
                  <a:avLst/>
                  <a:gdLst>
                    <a:gd name="T0" fmla="*/ 0 w 46"/>
                    <a:gd name="T1" fmla="*/ 46 h 46"/>
                    <a:gd name="T2" fmla="*/ 46 w 46"/>
                    <a:gd name="T3" fmla="*/ 46 h 46"/>
                    <a:gd name="T4" fmla="*/ 46 w 46"/>
                    <a:gd name="T5" fmla="*/ 0 h 46"/>
                    <a:gd name="T6" fmla="*/ 0 w 46"/>
                    <a:gd name="T7" fmla="*/ 0 h 46"/>
                    <a:gd name="T8" fmla="*/ 0 w 46"/>
                    <a:gd name="T9" fmla="*/ 46 h 46"/>
                    <a:gd name="T10" fmla="*/ 12 w 46"/>
                    <a:gd name="T11" fmla="*/ 11 h 46"/>
                    <a:gd name="T12" fmla="*/ 35 w 46"/>
                    <a:gd name="T13" fmla="*/ 11 h 46"/>
                    <a:gd name="T14" fmla="*/ 35 w 46"/>
                    <a:gd name="T15" fmla="*/ 34 h 46"/>
                    <a:gd name="T16" fmla="*/ 12 w 46"/>
                    <a:gd name="T17" fmla="*/ 34 h 46"/>
                    <a:gd name="T18" fmla="*/ 12 w 46"/>
                    <a:gd name="T19" fmla="*/ 11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" h="46">
                      <a:moveTo>
                        <a:pt x="0" y="46"/>
                      </a:moveTo>
                      <a:lnTo>
                        <a:pt x="46" y="46"/>
                      </a:lnTo>
                      <a:lnTo>
                        <a:pt x="46" y="0"/>
                      </a:lnTo>
                      <a:lnTo>
                        <a:pt x="0" y="0"/>
                      </a:lnTo>
                      <a:lnTo>
                        <a:pt x="0" y="46"/>
                      </a:lnTo>
                      <a:close/>
                      <a:moveTo>
                        <a:pt x="12" y="11"/>
                      </a:moveTo>
                      <a:lnTo>
                        <a:pt x="35" y="11"/>
                      </a:lnTo>
                      <a:lnTo>
                        <a:pt x="35" y="34"/>
                      </a:lnTo>
                      <a:lnTo>
                        <a:pt x="12" y="34"/>
                      </a:lnTo>
                      <a:lnTo>
                        <a:pt x="12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466" name="Freeform 23">
                  <a:extLst>
                    <a:ext uri="{FF2B5EF4-FFF2-40B4-BE49-F238E27FC236}">
                      <a16:creationId xmlns:a16="http://schemas.microsoft.com/office/drawing/2014/main" id="{881D55E5-8868-AA2A-9028-B26E1B57F1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38638" y="3816350"/>
                  <a:ext cx="73025" cy="73025"/>
                </a:xfrm>
                <a:custGeom>
                  <a:avLst/>
                  <a:gdLst>
                    <a:gd name="T0" fmla="*/ 0 w 46"/>
                    <a:gd name="T1" fmla="*/ 0 h 46"/>
                    <a:gd name="T2" fmla="*/ 0 w 46"/>
                    <a:gd name="T3" fmla="*/ 46 h 46"/>
                    <a:gd name="T4" fmla="*/ 46 w 46"/>
                    <a:gd name="T5" fmla="*/ 46 h 46"/>
                    <a:gd name="T6" fmla="*/ 46 w 46"/>
                    <a:gd name="T7" fmla="*/ 0 h 46"/>
                    <a:gd name="T8" fmla="*/ 0 w 46"/>
                    <a:gd name="T9" fmla="*/ 0 h 46"/>
                    <a:gd name="T10" fmla="*/ 35 w 46"/>
                    <a:gd name="T11" fmla="*/ 35 h 46"/>
                    <a:gd name="T12" fmla="*/ 12 w 46"/>
                    <a:gd name="T13" fmla="*/ 35 h 46"/>
                    <a:gd name="T14" fmla="*/ 12 w 46"/>
                    <a:gd name="T15" fmla="*/ 12 h 46"/>
                    <a:gd name="T16" fmla="*/ 35 w 46"/>
                    <a:gd name="T17" fmla="*/ 12 h 46"/>
                    <a:gd name="T18" fmla="*/ 35 w 46"/>
                    <a:gd name="T19" fmla="*/ 35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" h="46">
                      <a:moveTo>
                        <a:pt x="0" y="0"/>
                      </a:moveTo>
                      <a:lnTo>
                        <a:pt x="0" y="46"/>
                      </a:lnTo>
                      <a:lnTo>
                        <a:pt x="46" y="46"/>
                      </a:lnTo>
                      <a:lnTo>
                        <a:pt x="46" y="0"/>
                      </a:lnTo>
                      <a:lnTo>
                        <a:pt x="0" y="0"/>
                      </a:lnTo>
                      <a:close/>
                      <a:moveTo>
                        <a:pt x="35" y="35"/>
                      </a:moveTo>
                      <a:lnTo>
                        <a:pt x="12" y="35"/>
                      </a:lnTo>
                      <a:lnTo>
                        <a:pt x="12" y="12"/>
                      </a:lnTo>
                      <a:lnTo>
                        <a:pt x="35" y="12"/>
                      </a:lnTo>
                      <a:lnTo>
                        <a:pt x="35" y="3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467" name="Rectangle 24">
                  <a:extLst>
                    <a:ext uri="{FF2B5EF4-FFF2-40B4-BE49-F238E27FC236}">
                      <a16:creationId xmlns:a16="http://schemas.microsoft.com/office/drawing/2014/main" id="{9711301B-21A9-0ECA-5728-F3073476CA8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95813" y="3779838"/>
                  <a:ext cx="19050" cy="1746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468" name="Rectangle 25">
                  <a:extLst>
                    <a:ext uri="{FF2B5EF4-FFF2-40B4-BE49-F238E27FC236}">
                      <a16:creationId xmlns:a16="http://schemas.microsoft.com/office/drawing/2014/main" id="{0A1C3A70-A388-42F0-0B81-F5ABB0123B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86276" y="3779838"/>
                  <a:ext cx="17463" cy="1746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</p:grpSp>
        </p:grpSp>
        <p:sp>
          <p:nvSpPr>
            <p:cNvPr id="469" name="TextBox 468">
              <a:extLst>
                <a:ext uri="{FF2B5EF4-FFF2-40B4-BE49-F238E27FC236}">
                  <a16:creationId xmlns:a16="http://schemas.microsoft.com/office/drawing/2014/main" id="{49D352B1-64E4-73D8-8770-255B4A7FD897}"/>
                </a:ext>
              </a:extLst>
            </p:cNvPr>
            <p:cNvSpPr txBox="1"/>
            <p:nvPr/>
          </p:nvSpPr>
          <p:spPr>
            <a:xfrm>
              <a:off x="4495650" y="3373655"/>
              <a:ext cx="1040566" cy="166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pt-BR" altLang="zh-CN" sz="1100" b="1" kern="0" dirty="0">
                  <a:solidFill>
                    <a:schemeClr val="tx1">
                      <a:lumMod val="100000"/>
                    </a:schemeClr>
                  </a:solidFill>
                  <a:cs typeface="Calibri" panose="020F0502020204030204" pitchFamily="34" charset="0"/>
                </a:rPr>
                <a:t>Instituição B</a:t>
              </a:r>
            </a:p>
          </p:txBody>
        </p:sp>
        <p:cxnSp>
          <p:nvCxnSpPr>
            <p:cNvPr id="470" name="Connector: Elbow 469">
              <a:extLst>
                <a:ext uri="{FF2B5EF4-FFF2-40B4-BE49-F238E27FC236}">
                  <a16:creationId xmlns:a16="http://schemas.microsoft.com/office/drawing/2014/main" id="{C301D92D-2002-F586-0F1F-D7B97302A59F}"/>
                </a:ext>
              </a:extLst>
            </p:cNvPr>
            <p:cNvCxnSpPr>
              <a:cxnSpLocks/>
              <a:stCxn id="56" idx="0"/>
              <a:endCxn id="457" idx="0"/>
            </p:cNvCxnSpPr>
            <p:nvPr/>
          </p:nvCxnSpPr>
          <p:spPr>
            <a:xfrm rot="5400000" flipH="1" flipV="1">
              <a:off x="3122072" y="980117"/>
              <a:ext cx="12700" cy="3787722"/>
            </a:xfrm>
            <a:prstGeom prst="bentConnector3">
              <a:avLst>
                <a:gd name="adj1" fmla="val 1800000"/>
              </a:avLst>
            </a:prstGeom>
            <a:ln w="9525">
              <a:solidFill>
                <a:schemeClr val="tx1"/>
              </a:solidFill>
              <a:prstDash val="solid"/>
              <a:headEnd type="triangl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2" name="TextBox 471">
              <a:extLst>
                <a:ext uri="{FF2B5EF4-FFF2-40B4-BE49-F238E27FC236}">
                  <a16:creationId xmlns:a16="http://schemas.microsoft.com/office/drawing/2014/main" id="{A5CC614F-FEFF-01A1-1403-878C056DF38C}"/>
                </a:ext>
              </a:extLst>
            </p:cNvPr>
            <p:cNvSpPr txBox="1"/>
            <p:nvPr/>
          </p:nvSpPr>
          <p:spPr>
            <a:xfrm>
              <a:off x="1625058" y="2484535"/>
              <a:ext cx="30501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Envio de dados via OPF</a:t>
              </a:r>
            </a:p>
          </p:txBody>
        </p:sp>
        <p:cxnSp>
          <p:nvCxnSpPr>
            <p:cNvPr id="473" name="Straight Arrow Connector 472">
              <a:extLst>
                <a:ext uri="{FF2B5EF4-FFF2-40B4-BE49-F238E27FC236}">
                  <a16:creationId xmlns:a16="http://schemas.microsoft.com/office/drawing/2014/main" id="{5E6C76FC-D9EE-CCA4-3435-7CC29281C0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11516" y="3130696"/>
              <a:ext cx="1133563" cy="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5" name="TextBox 474">
              <a:extLst>
                <a:ext uri="{FF2B5EF4-FFF2-40B4-BE49-F238E27FC236}">
                  <a16:creationId xmlns:a16="http://schemas.microsoft.com/office/drawing/2014/main" id="{188CF2E7-1D89-1C35-67B2-3DC7AE80EA8A}"/>
                </a:ext>
              </a:extLst>
            </p:cNvPr>
            <p:cNvSpPr txBox="1"/>
            <p:nvPr/>
          </p:nvSpPr>
          <p:spPr>
            <a:xfrm>
              <a:off x="806560" y="3384220"/>
              <a:ext cx="843302" cy="166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pt-BR" altLang="zh-CN" sz="1100" b="1" kern="0" dirty="0">
                  <a:solidFill>
                    <a:schemeClr val="tx1">
                      <a:lumMod val="100000"/>
                    </a:schemeClr>
                  </a:solidFill>
                  <a:cs typeface="Calibri" panose="020F0502020204030204" pitchFamily="34" charset="0"/>
                </a:rPr>
                <a:t>Instituição A</a:t>
              </a:r>
            </a:p>
          </p:txBody>
        </p:sp>
        <p:grpSp>
          <p:nvGrpSpPr>
            <p:cNvPr id="415" name="Group 414">
              <a:extLst>
                <a:ext uri="{FF2B5EF4-FFF2-40B4-BE49-F238E27FC236}">
                  <a16:creationId xmlns:a16="http://schemas.microsoft.com/office/drawing/2014/main" id="{8EB18303-23F5-361B-BDB8-854141AEA2B5}"/>
                </a:ext>
              </a:extLst>
            </p:cNvPr>
            <p:cNvGrpSpPr/>
            <p:nvPr/>
          </p:nvGrpSpPr>
          <p:grpSpPr>
            <a:xfrm>
              <a:off x="1730071" y="2825217"/>
              <a:ext cx="990223" cy="314861"/>
              <a:chOff x="3559832" y="2825217"/>
              <a:chExt cx="990223" cy="314861"/>
            </a:xfrm>
          </p:grpSpPr>
          <p:sp>
            <p:nvSpPr>
              <p:cNvPr id="492" name="TextBox 491">
                <a:extLst>
                  <a:ext uri="{FF2B5EF4-FFF2-40B4-BE49-F238E27FC236}">
                    <a16:creationId xmlns:a16="http://schemas.microsoft.com/office/drawing/2014/main" id="{D77E427D-C92B-27BC-DDAA-2112D374775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59832" y="2832301"/>
                <a:ext cx="990223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Dá o consentimento</a:t>
                </a:r>
              </a:p>
            </p:txBody>
          </p:sp>
          <p:sp>
            <p:nvSpPr>
              <p:cNvPr id="493" name="Oval 492">
                <a:extLst>
                  <a:ext uri="{FF2B5EF4-FFF2-40B4-BE49-F238E27FC236}">
                    <a16:creationId xmlns:a16="http://schemas.microsoft.com/office/drawing/2014/main" id="{53111FFB-CA24-2C8D-47B7-BC415AA91DF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739405" y="2825217"/>
                <a:ext cx="147942" cy="147942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r>
                  <a:rPr lang="pt-BR" sz="1000" b="1" kern="0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BE652749-9498-CE79-CB7F-EEC672B3E9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66976" y="2491450"/>
              <a:ext cx="147942" cy="147942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pt-BR" sz="1000" b="1" kern="0" dirty="0">
                  <a:solidFill>
                    <a:schemeClr val="bg1"/>
                  </a:solidFill>
                </a:rPr>
                <a:t>3</a:t>
              </a:r>
            </a:p>
          </p:txBody>
        </p:sp>
        <p:cxnSp>
          <p:nvCxnSpPr>
            <p:cNvPr id="488" name="Straight Arrow Connector 487">
              <a:extLst>
                <a:ext uri="{FF2B5EF4-FFF2-40B4-BE49-F238E27FC236}">
                  <a16:creationId xmlns:a16="http://schemas.microsoft.com/office/drawing/2014/main" id="{83A8AB05-6013-051B-F2FE-7AA617CD2A72}"/>
                </a:ext>
              </a:extLst>
            </p:cNvPr>
            <p:cNvCxnSpPr>
              <a:cxnSpLocks/>
            </p:cNvCxnSpPr>
            <p:nvPr/>
          </p:nvCxnSpPr>
          <p:spPr>
            <a:xfrm>
              <a:off x="3510130" y="3130696"/>
              <a:ext cx="1133563" cy="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6" name="Group 415">
              <a:extLst>
                <a:ext uri="{FF2B5EF4-FFF2-40B4-BE49-F238E27FC236}">
                  <a16:creationId xmlns:a16="http://schemas.microsoft.com/office/drawing/2014/main" id="{C214BD60-75AB-C3EC-F540-F74FA459F366}"/>
                </a:ext>
              </a:extLst>
            </p:cNvPr>
            <p:cNvGrpSpPr/>
            <p:nvPr/>
          </p:nvGrpSpPr>
          <p:grpSpPr>
            <a:xfrm>
              <a:off x="3559832" y="2825217"/>
              <a:ext cx="1010126" cy="314861"/>
              <a:chOff x="1730071" y="2825217"/>
              <a:chExt cx="1010126" cy="314861"/>
            </a:xfrm>
          </p:grpSpPr>
          <p:sp>
            <p:nvSpPr>
              <p:cNvPr id="481" name="TextBox 480">
                <a:extLst>
                  <a:ext uri="{FF2B5EF4-FFF2-40B4-BE49-F238E27FC236}">
                    <a16:creationId xmlns:a16="http://schemas.microsoft.com/office/drawing/2014/main" id="{2AEEEB3F-A216-B76C-5CB9-6FE2007D9E4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30071" y="2832301"/>
                <a:ext cx="1010126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Confirma compartilhamento</a:t>
                </a:r>
              </a:p>
            </p:txBody>
          </p:sp>
          <p:sp>
            <p:nvSpPr>
              <p:cNvPr id="482" name="Oval 481">
                <a:extLst>
                  <a:ext uri="{FF2B5EF4-FFF2-40B4-BE49-F238E27FC236}">
                    <a16:creationId xmlns:a16="http://schemas.microsoft.com/office/drawing/2014/main" id="{97A09872-7029-AF77-D26F-084DB8735F5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800057" y="2825217"/>
                <a:ext cx="147942" cy="147942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r>
                  <a:rPr lang="pt-BR" sz="1000" b="1" kern="0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616" name="Group 615">
            <a:extLst>
              <a:ext uri="{FF2B5EF4-FFF2-40B4-BE49-F238E27FC236}">
                <a16:creationId xmlns:a16="http://schemas.microsoft.com/office/drawing/2014/main" id="{0F04F67F-DEDA-862F-14C5-01D71CEF6DD6}"/>
              </a:ext>
            </a:extLst>
          </p:cNvPr>
          <p:cNvGrpSpPr/>
          <p:nvPr/>
        </p:nvGrpSpPr>
        <p:grpSpPr>
          <a:xfrm>
            <a:off x="267917" y="4442495"/>
            <a:ext cx="5668992" cy="1196897"/>
            <a:chOff x="267917" y="4686233"/>
            <a:chExt cx="5668992" cy="1196897"/>
          </a:xfrm>
        </p:grpSpPr>
        <p:sp>
          <p:nvSpPr>
            <p:cNvPr id="569" name="Oval 568">
              <a:extLst>
                <a:ext uri="{FF2B5EF4-FFF2-40B4-BE49-F238E27FC236}">
                  <a16:creationId xmlns:a16="http://schemas.microsoft.com/office/drawing/2014/main" id="{D256826C-0F27-BBDF-5B63-AB82899ABE84}"/>
                </a:ext>
              </a:extLst>
            </p:cNvPr>
            <p:cNvSpPr/>
            <p:nvPr/>
          </p:nvSpPr>
          <p:spPr>
            <a:xfrm>
              <a:off x="452393" y="5075676"/>
              <a:ext cx="474350" cy="474350"/>
            </a:xfrm>
            <a:prstGeom prst="ellipse">
              <a:avLst/>
            </a:prstGeom>
            <a:solidFill>
              <a:srgbClr val="49C1E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809" tIns="76809" rIns="76809" bIns="76809" rtlCol="0" anchor="ctr"/>
            <a:lstStyle/>
            <a:p>
              <a:pPr algn="ctr"/>
              <a:endParaRPr lang="pt-BR" altLang="zh-CN" sz="1051" kern="0" dirty="0">
                <a:solidFill>
                  <a:schemeClr val="tx1"/>
                </a:solidFill>
              </a:endParaRPr>
            </a:p>
          </p:txBody>
        </p:sp>
        <p:grpSp>
          <p:nvGrpSpPr>
            <p:cNvPr id="570" name="Group 569">
              <a:extLst>
                <a:ext uri="{FF2B5EF4-FFF2-40B4-BE49-F238E27FC236}">
                  <a16:creationId xmlns:a16="http://schemas.microsoft.com/office/drawing/2014/main" id="{431710A7-C9A3-792B-26CE-C37668B72D25}"/>
                </a:ext>
              </a:extLst>
            </p:cNvPr>
            <p:cNvGrpSpPr/>
            <p:nvPr/>
          </p:nvGrpSpPr>
          <p:grpSpPr>
            <a:xfrm>
              <a:off x="563594" y="5181376"/>
              <a:ext cx="251947" cy="262950"/>
              <a:chOff x="4238625" y="4713288"/>
              <a:chExt cx="579438" cy="574675"/>
            </a:xfrm>
            <a:solidFill>
              <a:schemeClr val="bg1"/>
            </a:solidFill>
          </p:grpSpPr>
          <p:sp>
            <p:nvSpPr>
              <p:cNvPr id="571" name="Freeform 29">
                <a:extLst>
                  <a:ext uri="{FF2B5EF4-FFF2-40B4-BE49-F238E27FC236}">
                    <a16:creationId xmlns:a16="http://schemas.microsoft.com/office/drawing/2014/main" id="{546C8FB3-0BA1-018A-B386-4625B14C88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625" y="4713288"/>
                <a:ext cx="579438" cy="574675"/>
              </a:xfrm>
              <a:custGeom>
                <a:avLst/>
                <a:gdLst>
                  <a:gd name="T0" fmla="*/ 1792 w 1934"/>
                  <a:gd name="T1" fmla="*/ 769 h 1921"/>
                  <a:gd name="T2" fmla="*/ 1856 w 1934"/>
                  <a:gd name="T3" fmla="*/ 641 h 1921"/>
                  <a:gd name="T4" fmla="*/ 1920 w 1934"/>
                  <a:gd name="T5" fmla="*/ 449 h 1921"/>
                  <a:gd name="T6" fmla="*/ 947 w 1934"/>
                  <a:gd name="T7" fmla="*/ 4 h 1921"/>
                  <a:gd name="T8" fmla="*/ 0 w 1934"/>
                  <a:gd name="T9" fmla="*/ 609 h 1921"/>
                  <a:gd name="T10" fmla="*/ 64 w 1934"/>
                  <a:gd name="T11" fmla="*/ 737 h 1921"/>
                  <a:gd name="T12" fmla="*/ 128 w 1934"/>
                  <a:gd name="T13" fmla="*/ 865 h 1921"/>
                  <a:gd name="T14" fmla="*/ 192 w 1934"/>
                  <a:gd name="T15" fmla="*/ 1409 h 1921"/>
                  <a:gd name="T16" fmla="*/ 128 w 1934"/>
                  <a:gd name="T17" fmla="*/ 1537 h 1921"/>
                  <a:gd name="T18" fmla="*/ 64 w 1934"/>
                  <a:gd name="T19" fmla="*/ 1665 h 1921"/>
                  <a:gd name="T20" fmla="*/ 0 w 1934"/>
                  <a:gd name="T21" fmla="*/ 1825 h 1921"/>
                  <a:gd name="T22" fmla="*/ 1920 w 1934"/>
                  <a:gd name="T23" fmla="*/ 1825 h 1921"/>
                  <a:gd name="T24" fmla="*/ 1856 w 1934"/>
                  <a:gd name="T25" fmla="*/ 1665 h 1921"/>
                  <a:gd name="T26" fmla="*/ 1910 w 1934"/>
                  <a:gd name="T27" fmla="*/ 1259 h 1921"/>
                  <a:gd name="T28" fmla="*/ 1760 w 1934"/>
                  <a:gd name="T29" fmla="*/ 897 h 1921"/>
                  <a:gd name="T30" fmla="*/ 1472 w 1934"/>
                  <a:gd name="T31" fmla="*/ 769 h 1921"/>
                  <a:gd name="T32" fmla="*/ 1152 w 1934"/>
                  <a:gd name="T33" fmla="*/ 1345 h 1921"/>
                  <a:gd name="T34" fmla="*/ 1152 w 1934"/>
                  <a:gd name="T35" fmla="*/ 1441 h 1921"/>
                  <a:gd name="T36" fmla="*/ 1088 w 1934"/>
                  <a:gd name="T37" fmla="*/ 897 h 1921"/>
                  <a:gd name="T38" fmla="*/ 1152 w 1934"/>
                  <a:gd name="T39" fmla="*/ 769 h 1921"/>
                  <a:gd name="T40" fmla="*/ 1440 w 1934"/>
                  <a:gd name="T41" fmla="*/ 897 h 1921"/>
                  <a:gd name="T42" fmla="*/ 1152 w 1934"/>
                  <a:gd name="T43" fmla="*/ 1345 h 1921"/>
                  <a:gd name="T44" fmla="*/ 480 w 1934"/>
                  <a:gd name="T45" fmla="*/ 1409 h 1921"/>
                  <a:gd name="T46" fmla="*/ 480 w 1934"/>
                  <a:gd name="T47" fmla="*/ 897 h 1921"/>
                  <a:gd name="T48" fmla="*/ 768 w 1934"/>
                  <a:gd name="T49" fmla="*/ 769 h 1921"/>
                  <a:gd name="T50" fmla="*/ 832 w 1934"/>
                  <a:gd name="T51" fmla="*/ 897 h 1921"/>
                  <a:gd name="T52" fmla="*/ 768 w 1934"/>
                  <a:gd name="T53" fmla="*/ 1441 h 1921"/>
                  <a:gd name="T54" fmla="*/ 1024 w 1934"/>
                  <a:gd name="T55" fmla="*/ 1409 h 1921"/>
                  <a:gd name="T56" fmla="*/ 1024 w 1934"/>
                  <a:gd name="T57" fmla="*/ 897 h 1921"/>
                  <a:gd name="T58" fmla="*/ 832 w 1934"/>
                  <a:gd name="T59" fmla="*/ 769 h 1921"/>
                  <a:gd name="T60" fmla="*/ 832 w 1934"/>
                  <a:gd name="T61" fmla="*/ 833 h 1921"/>
                  <a:gd name="T62" fmla="*/ 1088 w 1934"/>
                  <a:gd name="T63" fmla="*/ 1537 h 1921"/>
                  <a:gd name="T64" fmla="*/ 64 w 1934"/>
                  <a:gd name="T65" fmla="*/ 470 h 1921"/>
                  <a:gd name="T66" fmla="*/ 1856 w 1934"/>
                  <a:gd name="T67" fmla="*/ 577 h 1921"/>
                  <a:gd name="T68" fmla="*/ 1792 w 1934"/>
                  <a:gd name="T69" fmla="*/ 641 h 1921"/>
                  <a:gd name="T70" fmla="*/ 128 w 1934"/>
                  <a:gd name="T71" fmla="*/ 641 h 1921"/>
                  <a:gd name="T72" fmla="*/ 448 w 1934"/>
                  <a:gd name="T73" fmla="*/ 833 h 1921"/>
                  <a:gd name="T74" fmla="*/ 448 w 1934"/>
                  <a:gd name="T75" fmla="*/ 769 h 1921"/>
                  <a:gd name="T76" fmla="*/ 384 w 1934"/>
                  <a:gd name="T77" fmla="*/ 1409 h 1921"/>
                  <a:gd name="T78" fmla="*/ 192 w 1934"/>
                  <a:gd name="T79" fmla="*/ 1473 h 1921"/>
                  <a:gd name="T80" fmla="*/ 192 w 1934"/>
                  <a:gd name="T81" fmla="*/ 1537 h 1921"/>
                  <a:gd name="T82" fmla="*/ 1251 w 1934"/>
                  <a:gd name="T83" fmla="*/ 1601 h 1921"/>
                  <a:gd name="T84" fmla="*/ 128 w 1934"/>
                  <a:gd name="T85" fmla="*/ 1601 h 1921"/>
                  <a:gd name="T86" fmla="*/ 96 w 1934"/>
                  <a:gd name="T87" fmla="*/ 1857 h 1921"/>
                  <a:gd name="T88" fmla="*/ 1856 w 1934"/>
                  <a:gd name="T89" fmla="*/ 1729 h 1921"/>
                  <a:gd name="T90" fmla="*/ 1792 w 1934"/>
                  <a:gd name="T91" fmla="*/ 1630 h 1921"/>
                  <a:gd name="T92" fmla="*/ 1856 w 1934"/>
                  <a:gd name="T93" fmla="*/ 1345 h 1921"/>
                  <a:gd name="T94" fmla="*/ 1536 w 1934"/>
                  <a:gd name="T95" fmla="*/ 1025 h 1921"/>
                  <a:gd name="T96" fmla="*/ 1536 w 1934"/>
                  <a:gd name="T97" fmla="*/ 961 h 1921"/>
                  <a:gd name="T98" fmla="*/ 1664 w 1934"/>
                  <a:gd name="T99" fmla="*/ 983 h 1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34" h="1921">
                    <a:moveTo>
                      <a:pt x="1760" y="897"/>
                    </a:moveTo>
                    <a:cubicBezTo>
                      <a:pt x="1778" y="897"/>
                      <a:pt x="1792" y="883"/>
                      <a:pt x="1792" y="865"/>
                    </a:cubicBezTo>
                    <a:cubicBezTo>
                      <a:pt x="1792" y="769"/>
                      <a:pt x="1792" y="769"/>
                      <a:pt x="1792" y="769"/>
                    </a:cubicBezTo>
                    <a:cubicBezTo>
                      <a:pt x="1824" y="769"/>
                      <a:pt x="1824" y="769"/>
                      <a:pt x="1824" y="769"/>
                    </a:cubicBezTo>
                    <a:cubicBezTo>
                      <a:pt x="1842" y="769"/>
                      <a:pt x="1856" y="755"/>
                      <a:pt x="1856" y="737"/>
                    </a:cubicBezTo>
                    <a:cubicBezTo>
                      <a:pt x="1856" y="641"/>
                      <a:pt x="1856" y="641"/>
                      <a:pt x="1856" y="641"/>
                    </a:cubicBezTo>
                    <a:cubicBezTo>
                      <a:pt x="1888" y="641"/>
                      <a:pt x="1888" y="641"/>
                      <a:pt x="1888" y="641"/>
                    </a:cubicBezTo>
                    <a:cubicBezTo>
                      <a:pt x="1906" y="641"/>
                      <a:pt x="1920" y="627"/>
                      <a:pt x="1920" y="609"/>
                    </a:cubicBezTo>
                    <a:cubicBezTo>
                      <a:pt x="1920" y="449"/>
                      <a:pt x="1920" y="449"/>
                      <a:pt x="1920" y="449"/>
                    </a:cubicBezTo>
                    <a:cubicBezTo>
                      <a:pt x="1920" y="436"/>
                      <a:pt x="1913" y="425"/>
                      <a:pt x="1901" y="420"/>
                    </a:cubicBezTo>
                    <a:cubicBezTo>
                      <a:pt x="973" y="4"/>
                      <a:pt x="973" y="4"/>
                      <a:pt x="973" y="4"/>
                    </a:cubicBezTo>
                    <a:cubicBezTo>
                      <a:pt x="965" y="0"/>
                      <a:pt x="955" y="0"/>
                      <a:pt x="947" y="4"/>
                    </a:cubicBezTo>
                    <a:cubicBezTo>
                      <a:pt x="19" y="420"/>
                      <a:pt x="19" y="420"/>
                      <a:pt x="19" y="420"/>
                    </a:cubicBezTo>
                    <a:cubicBezTo>
                      <a:pt x="7" y="425"/>
                      <a:pt x="0" y="436"/>
                      <a:pt x="0" y="449"/>
                    </a:cubicBezTo>
                    <a:cubicBezTo>
                      <a:pt x="0" y="609"/>
                      <a:pt x="0" y="609"/>
                      <a:pt x="0" y="609"/>
                    </a:cubicBezTo>
                    <a:cubicBezTo>
                      <a:pt x="0" y="627"/>
                      <a:pt x="14" y="641"/>
                      <a:pt x="32" y="641"/>
                    </a:cubicBezTo>
                    <a:cubicBezTo>
                      <a:pt x="64" y="641"/>
                      <a:pt x="64" y="641"/>
                      <a:pt x="64" y="641"/>
                    </a:cubicBezTo>
                    <a:cubicBezTo>
                      <a:pt x="64" y="737"/>
                      <a:pt x="64" y="737"/>
                      <a:pt x="64" y="737"/>
                    </a:cubicBezTo>
                    <a:cubicBezTo>
                      <a:pt x="64" y="755"/>
                      <a:pt x="78" y="769"/>
                      <a:pt x="96" y="769"/>
                    </a:cubicBezTo>
                    <a:cubicBezTo>
                      <a:pt x="128" y="769"/>
                      <a:pt x="128" y="769"/>
                      <a:pt x="128" y="769"/>
                    </a:cubicBezTo>
                    <a:cubicBezTo>
                      <a:pt x="128" y="865"/>
                      <a:pt x="128" y="865"/>
                      <a:pt x="128" y="865"/>
                    </a:cubicBezTo>
                    <a:cubicBezTo>
                      <a:pt x="128" y="883"/>
                      <a:pt x="142" y="897"/>
                      <a:pt x="160" y="897"/>
                    </a:cubicBezTo>
                    <a:cubicBezTo>
                      <a:pt x="192" y="897"/>
                      <a:pt x="192" y="897"/>
                      <a:pt x="192" y="897"/>
                    </a:cubicBezTo>
                    <a:cubicBezTo>
                      <a:pt x="192" y="1409"/>
                      <a:pt x="192" y="1409"/>
                      <a:pt x="192" y="1409"/>
                    </a:cubicBezTo>
                    <a:cubicBezTo>
                      <a:pt x="160" y="1409"/>
                      <a:pt x="160" y="1409"/>
                      <a:pt x="160" y="1409"/>
                    </a:cubicBezTo>
                    <a:cubicBezTo>
                      <a:pt x="142" y="1409"/>
                      <a:pt x="128" y="1423"/>
                      <a:pt x="128" y="1441"/>
                    </a:cubicBezTo>
                    <a:cubicBezTo>
                      <a:pt x="128" y="1537"/>
                      <a:pt x="128" y="1537"/>
                      <a:pt x="128" y="1537"/>
                    </a:cubicBezTo>
                    <a:cubicBezTo>
                      <a:pt x="96" y="1537"/>
                      <a:pt x="96" y="1537"/>
                      <a:pt x="96" y="1537"/>
                    </a:cubicBezTo>
                    <a:cubicBezTo>
                      <a:pt x="78" y="1537"/>
                      <a:pt x="64" y="1551"/>
                      <a:pt x="64" y="1569"/>
                    </a:cubicBezTo>
                    <a:cubicBezTo>
                      <a:pt x="64" y="1665"/>
                      <a:pt x="64" y="1665"/>
                      <a:pt x="64" y="1665"/>
                    </a:cubicBezTo>
                    <a:cubicBezTo>
                      <a:pt x="32" y="1665"/>
                      <a:pt x="32" y="1665"/>
                      <a:pt x="32" y="1665"/>
                    </a:cubicBezTo>
                    <a:cubicBezTo>
                      <a:pt x="14" y="1665"/>
                      <a:pt x="0" y="1679"/>
                      <a:pt x="0" y="1697"/>
                    </a:cubicBezTo>
                    <a:cubicBezTo>
                      <a:pt x="0" y="1825"/>
                      <a:pt x="0" y="1825"/>
                      <a:pt x="0" y="1825"/>
                    </a:cubicBezTo>
                    <a:cubicBezTo>
                      <a:pt x="0" y="1878"/>
                      <a:pt x="43" y="1921"/>
                      <a:pt x="96" y="1921"/>
                    </a:cubicBezTo>
                    <a:cubicBezTo>
                      <a:pt x="1824" y="1921"/>
                      <a:pt x="1824" y="1921"/>
                      <a:pt x="1824" y="1921"/>
                    </a:cubicBezTo>
                    <a:cubicBezTo>
                      <a:pt x="1877" y="1921"/>
                      <a:pt x="1920" y="1878"/>
                      <a:pt x="1920" y="1825"/>
                    </a:cubicBezTo>
                    <a:cubicBezTo>
                      <a:pt x="1920" y="1697"/>
                      <a:pt x="1920" y="1697"/>
                      <a:pt x="1920" y="1697"/>
                    </a:cubicBezTo>
                    <a:cubicBezTo>
                      <a:pt x="1920" y="1679"/>
                      <a:pt x="1906" y="1665"/>
                      <a:pt x="1888" y="1665"/>
                    </a:cubicBezTo>
                    <a:cubicBezTo>
                      <a:pt x="1856" y="1665"/>
                      <a:pt x="1856" y="1665"/>
                      <a:pt x="1856" y="1665"/>
                    </a:cubicBezTo>
                    <a:cubicBezTo>
                      <a:pt x="1856" y="1569"/>
                      <a:pt x="1856" y="1569"/>
                      <a:pt x="1856" y="1569"/>
                    </a:cubicBezTo>
                    <a:cubicBezTo>
                      <a:pt x="1856" y="1566"/>
                      <a:pt x="1855" y="1563"/>
                      <a:pt x="1854" y="1560"/>
                    </a:cubicBezTo>
                    <a:cubicBezTo>
                      <a:pt x="1914" y="1472"/>
                      <a:pt x="1934" y="1363"/>
                      <a:pt x="1910" y="1259"/>
                    </a:cubicBezTo>
                    <a:cubicBezTo>
                      <a:pt x="1886" y="1155"/>
                      <a:pt x="1820" y="1066"/>
                      <a:pt x="1728" y="1013"/>
                    </a:cubicBezTo>
                    <a:cubicBezTo>
                      <a:pt x="1728" y="897"/>
                      <a:pt x="1728" y="897"/>
                      <a:pt x="1728" y="897"/>
                    </a:cubicBezTo>
                    <a:lnTo>
                      <a:pt x="1760" y="897"/>
                    </a:lnTo>
                    <a:close/>
                    <a:moveTo>
                      <a:pt x="1728" y="833"/>
                    </a:moveTo>
                    <a:cubicBezTo>
                      <a:pt x="1472" y="833"/>
                      <a:pt x="1472" y="833"/>
                      <a:pt x="1472" y="833"/>
                    </a:cubicBezTo>
                    <a:cubicBezTo>
                      <a:pt x="1472" y="769"/>
                      <a:pt x="1472" y="769"/>
                      <a:pt x="1472" y="769"/>
                    </a:cubicBezTo>
                    <a:cubicBezTo>
                      <a:pt x="1728" y="769"/>
                      <a:pt x="1728" y="769"/>
                      <a:pt x="1728" y="769"/>
                    </a:cubicBezTo>
                    <a:lnTo>
                      <a:pt x="1728" y="833"/>
                    </a:lnTo>
                    <a:close/>
                    <a:moveTo>
                      <a:pt x="1152" y="1345"/>
                    </a:moveTo>
                    <a:cubicBezTo>
                      <a:pt x="1152" y="1412"/>
                      <a:pt x="1170" y="1479"/>
                      <a:pt x="1204" y="1537"/>
                    </a:cubicBezTo>
                    <a:cubicBezTo>
                      <a:pt x="1152" y="1537"/>
                      <a:pt x="1152" y="1537"/>
                      <a:pt x="1152" y="1537"/>
                    </a:cubicBezTo>
                    <a:cubicBezTo>
                      <a:pt x="1152" y="1441"/>
                      <a:pt x="1152" y="1441"/>
                      <a:pt x="1152" y="1441"/>
                    </a:cubicBezTo>
                    <a:cubicBezTo>
                      <a:pt x="1152" y="1423"/>
                      <a:pt x="1138" y="1409"/>
                      <a:pt x="1120" y="1409"/>
                    </a:cubicBezTo>
                    <a:cubicBezTo>
                      <a:pt x="1088" y="1409"/>
                      <a:pt x="1088" y="1409"/>
                      <a:pt x="1088" y="1409"/>
                    </a:cubicBezTo>
                    <a:cubicBezTo>
                      <a:pt x="1088" y="897"/>
                      <a:pt x="1088" y="897"/>
                      <a:pt x="1088" y="897"/>
                    </a:cubicBezTo>
                    <a:cubicBezTo>
                      <a:pt x="1120" y="897"/>
                      <a:pt x="1120" y="897"/>
                      <a:pt x="1120" y="897"/>
                    </a:cubicBezTo>
                    <a:cubicBezTo>
                      <a:pt x="1138" y="897"/>
                      <a:pt x="1152" y="883"/>
                      <a:pt x="1152" y="865"/>
                    </a:cubicBezTo>
                    <a:cubicBezTo>
                      <a:pt x="1152" y="769"/>
                      <a:pt x="1152" y="769"/>
                      <a:pt x="1152" y="769"/>
                    </a:cubicBezTo>
                    <a:cubicBezTo>
                      <a:pt x="1408" y="769"/>
                      <a:pt x="1408" y="769"/>
                      <a:pt x="1408" y="769"/>
                    </a:cubicBezTo>
                    <a:cubicBezTo>
                      <a:pt x="1408" y="865"/>
                      <a:pt x="1408" y="865"/>
                      <a:pt x="1408" y="865"/>
                    </a:cubicBezTo>
                    <a:cubicBezTo>
                      <a:pt x="1408" y="883"/>
                      <a:pt x="1422" y="897"/>
                      <a:pt x="1440" y="897"/>
                    </a:cubicBezTo>
                    <a:cubicBezTo>
                      <a:pt x="1472" y="897"/>
                      <a:pt x="1472" y="897"/>
                      <a:pt x="1472" y="897"/>
                    </a:cubicBezTo>
                    <a:cubicBezTo>
                      <a:pt x="1472" y="967"/>
                      <a:pt x="1472" y="967"/>
                      <a:pt x="1472" y="967"/>
                    </a:cubicBezTo>
                    <a:cubicBezTo>
                      <a:pt x="1287" y="998"/>
                      <a:pt x="1152" y="1158"/>
                      <a:pt x="1152" y="1345"/>
                    </a:cubicBezTo>
                    <a:close/>
                    <a:moveTo>
                      <a:pt x="512" y="1537"/>
                    </a:moveTo>
                    <a:cubicBezTo>
                      <a:pt x="512" y="1441"/>
                      <a:pt x="512" y="1441"/>
                      <a:pt x="512" y="1441"/>
                    </a:cubicBezTo>
                    <a:cubicBezTo>
                      <a:pt x="512" y="1423"/>
                      <a:pt x="498" y="1409"/>
                      <a:pt x="480" y="1409"/>
                    </a:cubicBezTo>
                    <a:cubicBezTo>
                      <a:pt x="448" y="1409"/>
                      <a:pt x="448" y="1409"/>
                      <a:pt x="448" y="1409"/>
                    </a:cubicBezTo>
                    <a:cubicBezTo>
                      <a:pt x="448" y="897"/>
                      <a:pt x="448" y="897"/>
                      <a:pt x="448" y="897"/>
                    </a:cubicBezTo>
                    <a:cubicBezTo>
                      <a:pt x="480" y="897"/>
                      <a:pt x="480" y="897"/>
                      <a:pt x="480" y="897"/>
                    </a:cubicBezTo>
                    <a:cubicBezTo>
                      <a:pt x="498" y="897"/>
                      <a:pt x="512" y="883"/>
                      <a:pt x="512" y="865"/>
                    </a:cubicBezTo>
                    <a:cubicBezTo>
                      <a:pt x="512" y="769"/>
                      <a:pt x="512" y="769"/>
                      <a:pt x="512" y="769"/>
                    </a:cubicBezTo>
                    <a:cubicBezTo>
                      <a:pt x="768" y="769"/>
                      <a:pt x="768" y="769"/>
                      <a:pt x="768" y="769"/>
                    </a:cubicBezTo>
                    <a:cubicBezTo>
                      <a:pt x="768" y="865"/>
                      <a:pt x="768" y="865"/>
                      <a:pt x="768" y="865"/>
                    </a:cubicBezTo>
                    <a:cubicBezTo>
                      <a:pt x="768" y="883"/>
                      <a:pt x="782" y="897"/>
                      <a:pt x="800" y="897"/>
                    </a:cubicBezTo>
                    <a:cubicBezTo>
                      <a:pt x="832" y="897"/>
                      <a:pt x="832" y="897"/>
                      <a:pt x="832" y="897"/>
                    </a:cubicBezTo>
                    <a:cubicBezTo>
                      <a:pt x="832" y="1409"/>
                      <a:pt x="832" y="1409"/>
                      <a:pt x="832" y="1409"/>
                    </a:cubicBezTo>
                    <a:cubicBezTo>
                      <a:pt x="800" y="1409"/>
                      <a:pt x="800" y="1409"/>
                      <a:pt x="800" y="1409"/>
                    </a:cubicBezTo>
                    <a:cubicBezTo>
                      <a:pt x="782" y="1409"/>
                      <a:pt x="768" y="1423"/>
                      <a:pt x="768" y="1441"/>
                    </a:cubicBezTo>
                    <a:cubicBezTo>
                      <a:pt x="768" y="1537"/>
                      <a:pt x="768" y="1537"/>
                      <a:pt x="768" y="1537"/>
                    </a:cubicBezTo>
                    <a:lnTo>
                      <a:pt x="512" y="1537"/>
                    </a:lnTo>
                    <a:close/>
                    <a:moveTo>
                      <a:pt x="1024" y="1409"/>
                    </a:moveTo>
                    <a:cubicBezTo>
                      <a:pt x="896" y="1409"/>
                      <a:pt x="896" y="1409"/>
                      <a:pt x="896" y="1409"/>
                    </a:cubicBezTo>
                    <a:cubicBezTo>
                      <a:pt x="896" y="897"/>
                      <a:pt x="896" y="897"/>
                      <a:pt x="896" y="897"/>
                    </a:cubicBezTo>
                    <a:cubicBezTo>
                      <a:pt x="1024" y="897"/>
                      <a:pt x="1024" y="897"/>
                      <a:pt x="1024" y="897"/>
                    </a:cubicBezTo>
                    <a:lnTo>
                      <a:pt x="1024" y="1409"/>
                    </a:lnTo>
                    <a:close/>
                    <a:moveTo>
                      <a:pt x="832" y="833"/>
                    </a:moveTo>
                    <a:cubicBezTo>
                      <a:pt x="832" y="769"/>
                      <a:pt x="832" y="769"/>
                      <a:pt x="832" y="769"/>
                    </a:cubicBezTo>
                    <a:cubicBezTo>
                      <a:pt x="1088" y="769"/>
                      <a:pt x="1088" y="769"/>
                      <a:pt x="1088" y="769"/>
                    </a:cubicBezTo>
                    <a:cubicBezTo>
                      <a:pt x="1088" y="833"/>
                      <a:pt x="1088" y="833"/>
                      <a:pt x="1088" y="833"/>
                    </a:cubicBezTo>
                    <a:lnTo>
                      <a:pt x="832" y="833"/>
                    </a:lnTo>
                    <a:close/>
                    <a:moveTo>
                      <a:pt x="832" y="1473"/>
                    </a:moveTo>
                    <a:cubicBezTo>
                      <a:pt x="1088" y="1473"/>
                      <a:pt x="1088" y="1473"/>
                      <a:pt x="1088" y="1473"/>
                    </a:cubicBezTo>
                    <a:cubicBezTo>
                      <a:pt x="1088" y="1537"/>
                      <a:pt x="1088" y="1537"/>
                      <a:pt x="1088" y="1537"/>
                    </a:cubicBezTo>
                    <a:cubicBezTo>
                      <a:pt x="832" y="1537"/>
                      <a:pt x="832" y="1537"/>
                      <a:pt x="832" y="1537"/>
                    </a:cubicBezTo>
                    <a:lnTo>
                      <a:pt x="832" y="1473"/>
                    </a:lnTo>
                    <a:close/>
                    <a:moveTo>
                      <a:pt x="64" y="470"/>
                    </a:moveTo>
                    <a:cubicBezTo>
                      <a:pt x="960" y="68"/>
                      <a:pt x="960" y="68"/>
                      <a:pt x="960" y="68"/>
                    </a:cubicBezTo>
                    <a:cubicBezTo>
                      <a:pt x="1856" y="470"/>
                      <a:pt x="1856" y="470"/>
                      <a:pt x="1856" y="470"/>
                    </a:cubicBezTo>
                    <a:cubicBezTo>
                      <a:pt x="1856" y="577"/>
                      <a:pt x="1856" y="577"/>
                      <a:pt x="1856" y="577"/>
                    </a:cubicBezTo>
                    <a:cubicBezTo>
                      <a:pt x="64" y="577"/>
                      <a:pt x="64" y="577"/>
                      <a:pt x="64" y="577"/>
                    </a:cubicBezTo>
                    <a:lnTo>
                      <a:pt x="64" y="470"/>
                    </a:lnTo>
                    <a:close/>
                    <a:moveTo>
                      <a:pt x="1792" y="641"/>
                    </a:moveTo>
                    <a:cubicBezTo>
                      <a:pt x="1792" y="705"/>
                      <a:pt x="1792" y="705"/>
                      <a:pt x="1792" y="705"/>
                    </a:cubicBezTo>
                    <a:cubicBezTo>
                      <a:pt x="128" y="705"/>
                      <a:pt x="128" y="705"/>
                      <a:pt x="128" y="705"/>
                    </a:cubicBezTo>
                    <a:cubicBezTo>
                      <a:pt x="128" y="641"/>
                      <a:pt x="128" y="641"/>
                      <a:pt x="128" y="641"/>
                    </a:cubicBezTo>
                    <a:lnTo>
                      <a:pt x="1792" y="641"/>
                    </a:lnTo>
                    <a:close/>
                    <a:moveTo>
                      <a:pt x="448" y="769"/>
                    </a:moveTo>
                    <a:cubicBezTo>
                      <a:pt x="448" y="833"/>
                      <a:pt x="448" y="833"/>
                      <a:pt x="448" y="833"/>
                    </a:cubicBezTo>
                    <a:cubicBezTo>
                      <a:pt x="192" y="833"/>
                      <a:pt x="192" y="833"/>
                      <a:pt x="192" y="833"/>
                    </a:cubicBezTo>
                    <a:cubicBezTo>
                      <a:pt x="192" y="769"/>
                      <a:pt x="192" y="769"/>
                      <a:pt x="192" y="769"/>
                    </a:cubicBezTo>
                    <a:lnTo>
                      <a:pt x="448" y="769"/>
                    </a:lnTo>
                    <a:close/>
                    <a:moveTo>
                      <a:pt x="256" y="897"/>
                    </a:moveTo>
                    <a:cubicBezTo>
                      <a:pt x="384" y="897"/>
                      <a:pt x="384" y="897"/>
                      <a:pt x="384" y="897"/>
                    </a:cubicBezTo>
                    <a:cubicBezTo>
                      <a:pt x="384" y="1409"/>
                      <a:pt x="384" y="1409"/>
                      <a:pt x="384" y="1409"/>
                    </a:cubicBezTo>
                    <a:cubicBezTo>
                      <a:pt x="256" y="1409"/>
                      <a:pt x="256" y="1409"/>
                      <a:pt x="256" y="1409"/>
                    </a:cubicBezTo>
                    <a:lnTo>
                      <a:pt x="256" y="897"/>
                    </a:lnTo>
                    <a:close/>
                    <a:moveTo>
                      <a:pt x="192" y="1473"/>
                    </a:moveTo>
                    <a:cubicBezTo>
                      <a:pt x="448" y="1473"/>
                      <a:pt x="448" y="1473"/>
                      <a:pt x="448" y="1473"/>
                    </a:cubicBezTo>
                    <a:cubicBezTo>
                      <a:pt x="448" y="1537"/>
                      <a:pt x="448" y="1537"/>
                      <a:pt x="448" y="1537"/>
                    </a:cubicBezTo>
                    <a:cubicBezTo>
                      <a:pt x="192" y="1537"/>
                      <a:pt x="192" y="1537"/>
                      <a:pt x="192" y="1537"/>
                    </a:cubicBezTo>
                    <a:lnTo>
                      <a:pt x="192" y="1473"/>
                    </a:lnTo>
                    <a:close/>
                    <a:moveTo>
                      <a:pt x="128" y="1601"/>
                    </a:moveTo>
                    <a:cubicBezTo>
                      <a:pt x="1251" y="1601"/>
                      <a:pt x="1251" y="1601"/>
                      <a:pt x="1251" y="1601"/>
                    </a:cubicBezTo>
                    <a:cubicBezTo>
                      <a:pt x="1272" y="1625"/>
                      <a:pt x="1297" y="1647"/>
                      <a:pt x="1324" y="1665"/>
                    </a:cubicBezTo>
                    <a:cubicBezTo>
                      <a:pt x="128" y="1665"/>
                      <a:pt x="128" y="1665"/>
                      <a:pt x="128" y="1665"/>
                    </a:cubicBezTo>
                    <a:lnTo>
                      <a:pt x="128" y="1601"/>
                    </a:lnTo>
                    <a:close/>
                    <a:moveTo>
                      <a:pt x="1856" y="1825"/>
                    </a:moveTo>
                    <a:cubicBezTo>
                      <a:pt x="1856" y="1843"/>
                      <a:pt x="1842" y="1857"/>
                      <a:pt x="1824" y="1857"/>
                    </a:cubicBezTo>
                    <a:cubicBezTo>
                      <a:pt x="96" y="1857"/>
                      <a:pt x="96" y="1857"/>
                      <a:pt x="96" y="1857"/>
                    </a:cubicBezTo>
                    <a:cubicBezTo>
                      <a:pt x="78" y="1857"/>
                      <a:pt x="64" y="1843"/>
                      <a:pt x="64" y="1825"/>
                    </a:cubicBezTo>
                    <a:cubicBezTo>
                      <a:pt x="64" y="1729"/>
                      <a:pt x="64" y="1729"/>
                      <a:pt x="64" y="1729"/>
                    </a:cubicBezTo>
                    <a:cubicBezTo>
                      <a:pt x="1856" y="1729"/>
                      <a:pt x="1856" y="1729"/>
                      <a:pt x="1856" y="1729"/>
                    </a:cubicBezTo>
                    <a:lnTo>
                      <a:pt x="1856" y="1825"/>
                    </a:lnTo>
                    <a:close/>
                    <a:moveTo>
                      <a:pt x="1748" y="1665"/>
                    </a:moveTo>
                    <a:cubicBezTo>
                      <a:pt x="1763" y="1655"/>
                      <a:pt x="1778" y="1643"/>
                      <a:pt x="1792" y="1630"/>
                    </a:cubicBezTo>
                    <a:cubicBezTo>
                      <a:pt x="1792" y="1665"/>
                      <a:pt x="1792" y="1665"/>
                      <a:pt x="1792" y="1665"/>
                    </a:cubicBezTo>
                    <a:lnTo>
                      <a:pt x="1748" y="1665"/>
                    </a:lnTo>
                    <a:close/>
                    <a:moveTo>
                      <a:pt x="1856" y="1345"/>
                    </a:moveTo>
                    <a:cubicBezTo>
                      <a:pt x="1856" y="1522"/>
                      <a:pt x="1713" y="1665"/>
                      <a:pt x="1536" y="1665"/>
                    </a:cubicBezTo>
                    <a:cubicBezTo>
                      <a:pt x="1359" y="1665"/>
                      <a:pt x="1216" y="1522"/>
                      <a:pt x="1216" y="1345"/>
                    </a:cubicBezTo>
                    <a:cubicBezTo>
                      <a:pt x="1216" y="1168"/>
                      <a:pt x="1359" y="1025"/>
                      <a:pt x="1536" y="1025"/>
                    </a:cubicBezTo>
                    <a:cubicBezTo>
                      <a:pt x="1713" y="1025"/>
                      <a:pt x="1856" y="1168"/>
                      <a:pt x="1856" y="1345"/>
                    </a:cubicBezTo>
                    <a:close/>
                    <a:moveTo>
                      <a:pt x="1664" y="983"/>
                    </a:moveTo>
                    <a:cubicBezTo>
                      <a:pt x="1623" y="969"/>
                      <a:pt x="1580" y="961"/>
                      <a:pt x="1536" y="961"/>
                    </a:cubicBezTo>
                    <a:cubicBezTo>
                      <a:pt x="1536" y="897"/>
                      <a:pt x="1536" y="897"/>
                      <a:pt x="1536" y="897"/>
                    </a:cubicBezTo>
                    <a:cubicBezTo>
                      <a:pt x="1664" y="897"/>
                      <a:pt x="1664" y="897"/>
                      <a:pt x="1664" y="897"/>
                    </a:cubicBezTo>
                    <a:lnTo>
                      <a:pt x="1664" y="9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72" name="Freeform 30">
                <a:extLst>
                  <a:ext uri="{FF2B5EF4-FFF2-40B4-BE49-F238E27FC236}">
                    <a16:creationId xmlns:a16="http://schemas.microsoft.com/office/drawing/2014/main" id="{0F3E39C0-0B4D-ED7B-1284-C0137D423A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1688" y="5029201"/>
                <a:ext cx="173038" cy="173038"/>
              </a:xfrm>
              <a:custGeom>
                <a:avLst/>
                <a:gdLst>
                  <a:gd name="T0" fmla="*/ 0 w 576"/>
                  <a:gd name="T1" fmla="*/ 288 h 576"/>
                  <a:gd name="T2" fmla="*/ 288 w 576"/>
                  <a:gd name="T3" fmla="*/ 576 h 576"/>
                  <a:gd name="T4" fmla="*/ 576 w 576"/>
                  <a:gd name="T5" fmla="*/ 288 h 576"/>
                  <a:gd name="T6" fmla="*/ 288 w 576"/>
                  <a:gd name="T7" fmla="*/ 0 h 576"/>
                  <a:gd name="T8" fmla="*/ 0 w 576"/>
                  <a:gd name="T9" fmla="*/ 288 h 576"/>
                  <a:gd name="T10" fmla="*/ 512 w 576"/>
                  <a:gd name="T11" fmla="*/ 288 h 576"/>
                  <a:gd name="T12" fmla="*/ 288 w 576"/>
                  <a:gd name="T13" fmla="*/ 512 h 576"/>
                  <a:gd name="T14" fmla="*/ 64 w 576"/>
                  <a:gd name="T15" fmla="*/ 288 h 576"/>
                  <a:gd name="T16" fmla="*/ 288 w 576"/>
                  <a:gd name="T17" fmla="*/ 64 h 576"/>
                  <a:gd name="T18" fmla="*/ 512 w 576"/>
                  <a:gd name="T19" fmla="*/ 288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6" h="576">
                    <a:moveTo>
                      <a:pt x="0" y="288"/>
                    </a:moveTo>
                    <a:cubicBezTo>
                      <a:pt x="0" y="447"/>
                      <a:pt x="129" y="576"/>
                      <a:pt x="288" y="576"/>
                    </a:cubicBezTo>
                    <a:cubicBezTo>
                      <a:pt x="447" y="576"/>
                      <a:pt x="576" y="447"/>
                      <a:pt x="576" y="288"/>
                    </a:cubicBezTo>
                    <a:cubicBezTo>
                      <a:pt x="576" y="129"/>
                      <a:pt x="447" y="0"/>
                      <a:pt x="288" y="0"/>
                    </a:cubicBezTo>
                    <a:cubicBezTo>
                      <a:pt x="129" y="0"/>
                      <a:pt x="0" y="129"/>
                      <a:pt x="0" y="288"/>
                    </a:cubicBezTo>
                    <a:close/>
                    <a:moveTo>
                      <a:pt x="512" y="288"/>
                    </a:moveTo>
                    <a:cubicBezTo>
                      <a:pt x="512" y="412"/>
                      <a:pt x="412" y="512"/>
                      <a:pt x="288" y="512"/>
                    </a:cubicBezTo>
                    <a:cubicBezTo>
                      <a:pt x="164" y="512"/>
                      <a:pt x="64" y="412"/>
                      <a:pt x="64" y="288"/>
                    </a:cubicBezTo>
                    <a:cubicBezTo>
                      <a:pt x="64" y="164"/>
                      <a:pt x="164" y="64"/>
                      <a:pt x="288" y="64"/>
                    </a:cubicBezTo>
                    <a:cubicBezTo>
                      <a:pt x="412" y="64"/>
                      <a:pt x="512" y="164"/>
                      <a:pt x="512" y="28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73" name="Freeform 31">
                <a:extLst>
                  <a:ext uri="{FF2B5EF4-FFF2-40B4-BE49-F238E27FC236}">
                    <a16:creationId xmlns:a16="http://schemas.microsoft.com/office/drawing/2014/main" id="{5F96CD62-8520-810A-0C01-2EBE243474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9313" y="5057776"/>
                <a:ext cx="77788" cy="115888"/>
              </a:xfrm>
              <a:custGeom>
                <a:avLst/>
                <a:gdLst>
                  <a:gd name="T0" fmla="*/ 96 w 256"/>
                  <a:gd name="T1" fmla="*/ 0 h 384"/>
                  <a:gd name="T2" fmla="*/ 96 w 256"/>
                  <a:gd name="T3" fmla="*/ 32 h 384"/>
                  <a:gd name="T4" fmla="*/ 0 w 256"/>
                  <a:gd name="T5" fmla="*/ 128 h 384"/>
                  <a:gd name="T6" fmla="*/ 96 w 256"/>
                  <a:gd name="T7" fmla="*/ 224 h 384"/>
                  <a:gd name="T8" fmla="*/ 96 w 256"/>
                  <a:gd name="T9" fmla="*/ 288 h 384"/>
                  <a:gd name="T10" fmla="*/ 64 w 256"/>
                  <a:gd name="T11" fmla="*/ 256 h 384"/>
                  <a:gd name="T12" fmla="*/ 0 w 256"/>
                  <a:gd name="T13" fmla="*/ 256 h 384"/>
                  <a:gd name="T14" fmla="*/ 96 w 256"/>
                  <a:gd name="T15" fmla="*/ 352 h 384"/>
                  <a:gd name="T16" fmla="*/ 96 w 256"/>
                  <a:gd name="T17" fmla="*/ 384 h 384"/>
                  <a:gd name="T18" fmla="*/ 160 w 256"/>
                  <a:gd name="T19" fmla="*/ 384 h 384"/>
                  <a:gd name="T20" fmla="*/ 160 w 256"/>
                  <a:gd name="T21" fmla="*/ 352 h 384"/>
                  <a:gd name="T22" fmla="*/ 256 w 256"/>
                  <a:gd name="T23" fmla="*/ 256 h 384"/>
                  <a:gd name="T24" fmla="*/ 160 w 256"/>
                  <a:gd name="T25" fmla="*/ 160 h 384"/>
                  <a:gd name="T26" fmla="*/ 160 w 256"/>
                  <a:gd name="T27" fmla="*/ 96 h 384"/>
                  <a:gd name="T28" fmla="*/ 192 w 256"/>
                  <a:gd name="T29" fmla="*/ 128 h 384"/>
                  <a:gd name="T30" fmla="*/ 256 w 256"/>
                  <a:gd name="T31" fmla="*/ 128 h 384"/>
                  <a:gd name="T32" fmla="*/ 160 w 256"/>
                  <a:gd name="T33" fmla="*/ 32 h 384"/>
                  <a:gd name="T34" fmla="*/ 160 w 256"/>
                  <a:gd name="T35" fmla="*/ 0 h 384"/>
                  <a:gd name="T36" fmla="*/ 96 w 256"/>
                  <a:gd name="T37" fmla="*/ 0 h 384"/>
                  <a:gd name="T38" fmla="*/ 192 w 256"/>
                  <a:gd name="T39" fmla="*/ 256 h 384"/>
                  <a:gd name="T40" fmla="*/ 160 w 256"/>
                  <a:gd name="T41" fmla="*/ 288 h 384"/>
                  <a:gd name="T42" fmla="*/ 160 w 256"/>
                  <a:gd name="T43" fmla="*/ 224 h 384"/>
                  <a:gd name="T44" fmla="*/ 192 w 256"/>
                  <a:gd name="T45" fmla="*/ 256 h 384"/>
                  <a:gd name="T46" fmla="*/ 96 w 256"/>
                  <a:gd name="T47" fmla="*/ 160 h 384"/>
                  <a:gd name="T48" fmla="*/ 64 w 256"/>
                  <a:gd name="T49" fmla="*/ 128 h 384"/>
                  <a:gd name="T50" fmla="*/ 96 w 256"/>
                  <a:gd name="T51" fmla="*/ 96 h 384"/>
                  <a:gd name="T52" fmla="*/ 96 w 256"/>
                  <a:gd name="T53" fmla="*/ 16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56" h="384">
                    <a:moveTo>
                      <a:pt x="96" y="0"/>
                    </a:moveTo>
                    <a:cubicBezTo>
                      <a:pt x="96" y="32"/>
                      <a:pt x="96" y="32"/>
                      <a:pt x="96" y="32"/>
                    </a:cubicBezTo>
                    <a:cubicBezTo>
                      <a:pt x="43" y="32"/>
                      <a:pt x="0" y="75"/>
                      <a:pt x="0" y="128"/>
                    </a:cubicBezTo>
                    <a:cubicBezTo>
                      <a:pt x="0" y="181"/>
                      <a:pt x="43" y="224"/>
                      <a:pt x="96" y="224"/>
                    </a:cubicBezTo>
                    <a:cubicBezTo>
                      <a:pt x="96" y="288"/>
                      <a:pt x="96" y="288"/>
                      <a:pt x="96" y="288"/>
                    </a:cubicBezTo>
                    <a:cubicBezTo>
                      <a:pt x="78" y="288"/>
                      <a:pt x="64" y="274"/>
                      <a:pt x="64" y="256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0" y="309"/>
                      <a:pt x="43" y="352"/>
                      <a:pt x="96" y="352"/>
                    </a:cubicBezTo>
                    <a:cubicBezTo>
                      <a:pt x="96" y="384"/>
                      <a:pt x="96" y="384"/>
                      <a:pt x="96" y="384"/>
                    </a:cubicBezTo>
                    <a:cubicBezTo>
                      <a:pt x="160" y="384"/>
                      <a:pt x="160" y="384"/>
                      <a:pt x="160" y="384"/>
                    </a:cubicBezTo>
                    <a:cubicBezTo>
                      <a:pt x="160" y="352"/>
                      <a:pt x="160" y="352"/>
                      <a:pt x="160" y="352"/>
                    </a:cubicBezTo>
                    <a:cubicBezTo>
                      <a:pt x="213" y="352"/>
                      <a:pt x="256" y="309"/>
                      <a:pt x="256" y="256"/>
                    </a:cubicBezTo>
                    <a:cubicBezTo>
                      <a:pt x="256" y="203"/>
                      <a:pt x="213" y="160"/>
                      <a:pt x="160" y="160"/>
                    </a:cubicBezTo>
                    <a:cubicBezTo>
                      <a:pt x="160" y="96"/>
                      <a:pt x="160" y="96"/>
                      <a:pt x="160" y="96"/>
                    </a:cubicBezTo>
                    <a:cubicBezTo>
                      <a:pt x="178" y="96"/>
                      <a:pt x="192" y="110"/>
                      <a:pt x="192" y="128"/>
                    </a:cubicBezTo>
                    <a:cubicBezTo>
                      <a:pt x="256" y="128"/>
                      <a:pt x="256" y="128"/>
                      <a:pt x="256" y="128"/>
                    </a:cubicBezTo>
                    <a:cubicBezTo>
                      <a:pt x="256" y="75"/>
                      <a:pt x="213" y="32"/>
                      <a:pt x="160" y="32"/>
                    </a:cubicBezTo>
                    <a:cubicBezTo>
                      <a:pt x="160" y="0"/>
                      <a:pt x="160" y="0"/>
                      <a:pt x="160" y="0"/>
                    </a:cubicBezTo>
                    <a:lnTo>
                      <a:pt x="96" y="0"/>
                    </a:lnTo>
                    <a:close/>
                    <a:moveTo>
                      <a:pt x="192" y="256"/>
                    </a:moveTo>
                    <a:cubicBezTo>
                      <a:pt x="192" y="274"/>
                      <a:pt x="178" y="288"/>
                      <a:pt x="160" y="288"/>
                    </a:cubicBezTo>
                    <a:cubicBezTo>
                      <a:pt x="160" y="224"/>
                      <a:pt x="160" y="224"/>
                      <a:pt x="160" y="224"/>
                    </a:cubicBezTo>
                    <a:cubicBezTo>
                      <a:pt x="178" y="224"/>
                      <a:pt x="192" y="238"/>
                      <a:pt x="192" y="256"/>
                    </a:cubicBezTo>
                    <a:close/>
                    <a:moveTo>
                      <a:pt x="96" y="160"/>
                    </a:moveTo>
                    <a:cubicBezTo>
                      <a:pt x="78" y="160"/>
                      <a:pt x="64" y="146"/>
                      <a:pt x="64" y="128"/>
                    </a:cubicBezTo>
                    <a:cubicBezTo>
                      <a:pt x="64" y="110"/>
                      <a:pt x="78" y="96"/>
                      <a:pt x="96" y="96"/>
                    </a:cubicBezTo>
                    <a:lnTo>
                      <a:pt x="96" y="1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74" name="Freeform 32">
                <a:extLst>
                  <a:ext uri="{FF2B5EF4-FFF2-40B4-BE49-F238E27FC236}">
                    <a16:creationId xmlns:a16="http://schemas.microsoft.com/office/drawing/2014/main" id="{17C752C1-E8DF-35A3-9346-C852059D67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8338" y="4770438"/>
                <a:ext cx="95250" cy="96838"/>
              </a:xfrm>
              <a:custGeom>
                <a:avLst/>
                <a:gdLst>
                  <a:gd name="T0" fmla="*/ 160 w 320"/>
                  <a:gd name="T1" fmla="*/ 320 h 320"/>
                  <a:gd name="T2" fmla="*/ 320 w 320"/>
                  <a:gd name="T3" fmla="*/ 160 h 320"/>
                  <a:gd name="T4" fmla="*/ 160 w 320"/>
                  <a:gd name="T5" fmla="*/ 0 h 320"/>
                  <a:gd name="T6" fmla="*/ 0 w 320"/>
                  <a:gd name="T7" fmla="*/ 160 h 320"/>
                  <a:gd name="T8" fmla="*/ 160 w 320"/>
                  <a:gd name="T9" fmla="*/ 320 h 320"/>
                  <a:gd name="T10" fmla="*/ 160 w 320"/>
                  <a:gd name="T11" fmla="*/ 64 h 320"/>
                  <a:gd name="T12" fmla="*/ 256 w 320"/>
                  <a:gd name="T13" fmla="*/ 160 h 320"/>
                  <a:gd name="T14" fmla="*/ 160 w 320"/>
                  <a:gd name="T15" fmla="*/ 256 h 320"/>
                  <a:gd name="T16" fmla="*/ 64 w 320"/>
                  <a:gd name="T17" fmla="*/ 160 h 320"/>
                  <a:gd name="T18" fmla="*/ 160 w 320"/>
                  <a:gd name="T19" fmla="*/ 64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0" h="320">
                    <a:moveTo>
                      <a:pt x="160" y="320"/>
                    </a:move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2"/>
                      <a:pt x="248" y="0"/>
                      <a:pt x="160" y="0"/>
                    </a:cubicBezTo>
                    <a:cubicBezTo>
                      <a:pt x="72" y="0"/>
                      <a:pt x="0" y="72"/>
                      <a:pt x="0" y="160"/>
                    </a:cubicBezTo>
                    <a:cubicBezTo>
                      <a:pt x="0" y="248"/>
                      <a:pt x="72" y="320"/>
                      <a:pt x="160" y="320"/>
                    </a:cubicBezTo>
                    <a:close/>
                    <a:moveTo>
                      <a:pt x="160" y="64"/>
                    </a:moveTo>
                    <a:cubicBezTo>
                      <a:pt x="213" y="64"/>
                      <a:pt x="256" y="107"/>
                      <a:pt x="256" y="160"/>
                    </a:cubicBezTo>
                    <a:cubicBezTo>
                      <a:pt x="256" y="213"/>
                      <a:pt x="213" y="256"/>
                      <a:pt x="160" y="256"/>
                    </a:cubicBezTo>
                    <a:cubicBezTo>
                      <a:pt x="107" y="256"/>
                      <a:pt x="64" y="213"/>
                      <a:pt x="64" y="160"/>
                    </a:cubicBezTo>
                    <a:cubicBezTo>
                      <a:pt x="64" y="107"/>
                      <a:pt x="107" y="64"/>
                      <a:pt x="160" y="6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</p:grp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810A042F-84EB-F84D-D0D3-A782F32295A9}"/>
                </a:ext>
              </a:extLst>
            </p:cNvPr>
            <p:cNvSpPr/>
            <p:nvPr/>
          </p:nvSpPr>
          <p:spPr>
            <a:xfrm>
              <a:off x="2087889" y="5075676"/>
              <a:ext cx="474350" cy="474350"/>
            </a:xfrm>
            <a:prstGeom prst="ellipse">
              <a:avLst/>
            </a:prstGeom>
            <a:solidFill>
              <a:srgbClr val="49C1E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809" tIns="76809" rIns="76809" bIns="76809" rtlCol="0" anchor="ctr"/>
            <a:lstStyle/>
            <a:p>
              <a:pPr algn="ctr"/>
              <a:endParaRPr lang="pt-BR" altLang="zh-CN" sz="1051" kern="0" dirty="0">
                <a:solidFill>
                  <a:schemeClr val="tx1"/>
                </a:solidFill>
              </a:endParaRPr>
            </a:p>
          </p:txBody>
        </p:sp>
        <p:grpSp>
          <p:nvGrpSpPr>
            <p:cNvPr id="564" name="Group 563">
              <a:extLst>
                <a:ext uri="{FF2B5EF4-FFF2-40B4-BE49-F238E27FC236}">
                  <a16:creationId xmlns:a16="http://schemas.microsoft.com/office/drawing/2014/main" id="{790B9943-04C2-0AB1-AF99-2425FA9B2B5A}"/>
                </a:ext>
              </a:extLst>
            </p:cNvPr>
            <p:cNvGrpSpPr/>
            <p:nvPr/>
          </p:nvGrpSpPr>
          <p:grpSpPr>
            <a:xfrm>
              <a:off x="2177054" y="5222830"/>
              <a:ext cx="296021" cy="180040"/>
              <a:chOff x="2703513" y="3662602"/>
              <a:chExt cx="817699" cy="472598"/>
            </a:xfrm>
            <a:solidFill>
              <a:schemeClr val="bg1"/>
            </a:solidFill>
          </p:grpSpPr>
          <p:sp>
            <p:nvSpPr>
              <p:cNvPr id="565" name="Freeform 11">
                <a:extLst>
                  <a:ext uri="{FF2B5EF4-FFF2-40B4-BE49-F238E27FC236}">
                    <a16:creationId xmlns:a16="http://schemas.microsoft.com/office/drawing/2014/main" id="{4F625A58-ED84-ADCF-5AC7-EBFFBD8C6F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03513" y="3662602"/>
                <a:ext cx="373064" cy="472598"/>
              </a:xfrm>
              <a:custGeom>
                <a:avLst/>
                <a:gdLst>
                  <a:gd name="T0" fmla="*/ 210 w 832"/>
                  <a:gd name="T1" fmla="*/ 96 h 1151"/>
                  <a:gd name="T2" fmla="*/ 96 w 832"/>
                  <a:gd name="T3" fmla="*/ 223 h 1151"/>
                  <a:gd name="T4" fmla="*/ 256 w 832"/>
                  <a:gd name="T5" fmla="*/ 788 h 1151"/>
                  <a:gd name="T6" fmla="*/ 192 w 832"/>
                  <a:gd name="T7" fmla="*/ 863 h 1151"/>
                  <a:gd name="T8" fmla="*/ 0 w 832"/>
                  <a:gd name="T9" fmla="*/ 1119 h 1151"/>
                  <a:gd name="T10" fmla="*/ 64 w 832"/>
                  <a:gd name="T11" fmla="*/ 1119 h 1151"/>
                  <a:gd name="T12" fmla="*/ 192 w 832"/>
                  <a:gd name="T13" fmla="*/ 927 h 1151"/>
                  <a:gd name="T14" fmla="*/ 391 w 832"/>
                  <a:gd name="T15" fmla="*/ 1075 h 1151"/>
                  <a:gd name="T16" fmla="*/ 396 w 832"/>
                  <a:gd name="T17" fmla="*/ 1080 h 1151"/>
                  <a:gd name="T18" fmla="*/ 404 w 832"/>
                  <a:gd name="T19" fmla="*/ 1084 h 1151"/>
                  <a:gd name="T20" fmla="*/ 416 w 832"/>
                  <a:gd name="T21" fmla="*/ 1087 h 1151"/>
                  <a:gd name="T22" fmla="*/ 428 w 832"/>
                  <a:gd name="T23" fmla="*/ 1084 h 1151"/>
                  <a:gd name="T24" fmla="*/ 436 w 832"/>
                  <a:gd name="T25" fmla="*/ 1080 h 1151"/>
                  <a:gd name="T26" fmla="*/ 441 w 832"/>
                  <a:gd name="T27" fmla="*/ 1075 h 1151"/>
                  <a:gd name="T28" fmla="*/ 640 w 832"/>
                  <a:gd name="T29" fmla="*/ 927 h 1151"/>
                  <a:gd name="T30" fmla="*/ 768 w 832"/>
                  <a:gd name="T31" fmla="*/ 1119 h 1151"/>
                  <a:gd name="T32" fmla="*/ 832 w 832"/>
                  <a:gd name="T33" fmla="*/ 1119 h 1151"/>
                  <a:gd name="T34" fmla="*/ 640 w 832"/>
                  <a:gd name="T35" fmla="*/ 863 h 1151"/>
                  <a:gd name="T36" fmla="*/ 576 w 832"/>
                  <a:gd name="T37" fmla="*/ 788 h 1151"/>
                  <a:gd name="T38" fmla="*/ 768 w 832"/>
                  <a:gd name="T39" fmla="*/ 640 h 1151"/>
                  <a:gd name="T40" fmla="*/ 832 w 832"/>
                  <a:gd name="T41" fmla="*/ 640 h 1151"/>
                  <a:gd name="T42" fmla="*/ 832 w 832"/>
                  <a:gd name="T43" fmla="*/ 640 h 1151"/>
                  <a:gd name="T44" fmla="*/ 832 w 832"/>
                  <a:gd name="T45" fmla="*/ 367 h 1151"/>
                  <a:gd name="T46" fmla="*/ 192 w 832"/>
                  <a:gd name="T47" fmla="*/ 168 h 1151"/>
                  <a:gd name="T48" fmla="*/ 160 w 832"/>
                  <a:gd name="T49" fmla="*/ 374 h 1151"/>
                  <a:gd name="T50" fmla="*/ 160 w 832"/>
                  <a:gd name="T51" fmla="*/ 223 h 1151"/>
                  <a:gd name="T52" fmla="*/ 512 w 832"/>
                  <a:gd name="T53" fmla="*/ 884 h 1151"/>
                  <a:gd name="T54" fmla="*/ 320 w 832"/>
                  <a:gd name="T55" fmla="*/ 884 h 1151"/>
                  <a:gd name="T56" fmla="*/ 416 w 832"/>
                  <a:gd name="T57" fmla="*/ 831 h 1151"/>
                  <a:gd name="T58" fmla="*/ 512 w 832"/>
                  <a:gd name="T59" fmla="*/ 884 h 1151"/>
                  <a:gd name="T60" fmla="*/ 160 w 832"/>
                  <a:gd name="T61" fmla="*/ 511 h 1151"/>
                  <a:gd name="T62" fmla="*/ 224 w 832"/>
                  <a:gd name="T63" fmla="*/ 403 h 1151"/>
                  <a:gd name="T64" fmla="*/ 320 w 832"/>
                  <a:gd name="T65" fmla="*/ 447 h 1151"/>
                  <a:gd name="T66" fmla="*/ 576 w 832"/>
                  <a:gd name="T67" fmla="*/ 448 h 1151"/>
                  <a:gd name="T68" fmla="*/ 672 w 832"/>
                  <a:gd name="T69" fmla="*/ 511 h 1151"/>
                  <a:gd name="T70" fmla="*/ 580 w 832"/>
                  <a:gd name="T71" fmla="*/ 384 h 1151"/>
                  <a:gd name="T72" fmla="*/ 321 w 832"/>
                  <a:gd name="T73" fmla="*/ 383 h 1151"/>
                  <a:gd name="T74" fmla="*/ 256 w 832"/>
                  <a:gd name="T75" fmla="*/ 319 h 1151"/>
                  <a:gd name="T76" fmla="*/ 256 w 832"/>
                  <a:gd name="T77" fmla="*/ 141 h 1151"/>
                  <a:gd name="T78" fmla="*/ 768 w 832"/>
                  <a:gd name="T79" fmla="*/ 367 h 1151"/>
                  <a:gd name="T80" fmla="*/ 768 w 832"/>
                  <a:gd name="T81" fmla="*/ 471 h 1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32" h="1151">
                    <a:moveTo>
                      <a:pt x="464" y="0"/>
                    </a:moveTo>
                    <a:cubicBezTo>
                      <a:pt x="365" y="0"/>
                      <a:pt x="276" y="34"/>
                      <a:pt x="210" y="96"/>
                    </a:cubicBezTo>
                    <a:cubicBezTo>
                      <a:pt x="146" y="103"/>
                      <a:pt x="96" y="157"/>
                      <a:pt x="96" y="222"/>
                    </a:cubicBezTo>
                    <a:cubicBezTo>
                      <a:pt x="96" y="223"/>
                      <a:pt x="96" y="223"/>
                      <a:pt x="96" y="223"/>
                    </a:cubicBezTo>
                    <a:cubicBezTo>
                      <a:pt x="96" y="511"/>
                      <a:pt x="96" y="511"/>
                      <a:pt x="96" y="511"/>
                    </a:cubicBezTo>
                    <a:cubicBezTo>
                      <a:pt x="96" y="629"/>
                      <a:pt x="161" y="732"/>
                      <a:pt x="256" y="788"/>
                    </a:cubicBezTo>
                    <a:cubicBezTo>
                      <a:pt x="256" y="863"/>
                      <a:pt x="256" y="863"/>
                      <a:pt x="256" y="863"/>
                    </a:cubicBezTo>
                    <a:cubicBezTo>
                      <a:pt x="192" y="863"/>
                      <a:pt x="192" y="863"/>
                      <a:pt x="192" y="863"/>
                    </a:cubicBezTo>
                    <a:cubicBezTo>
                      <a:pt x="86" y="863"/>
                      <a:pt x="0" y="949"/>
                      <a:pt x="0" y="1055"/>
                    </a:cubicBezTo>
                    <a:cubicBezTo>
                      <a:pt x="0" y="1119"/>
                      <a:pt x="0" y="1119"/>
                      <a:pt x="0" y="1119"/>
                    </a:cubicBezTo>
                    <a:cubicBezTo>
                      <a:pt x="0" y="1137"/>
                      <a:pt x="14" y="1151"/>
                      <a:pt x="32" y="1151"/>
                    </a:cubicBezTo>
                    <a:cubicBezTo>
                      <a:pt x="50" y="1151"/>
                      <a:pt x="64" y="1137"/>
                      <a:pt x="64" y="1119"/>
                    </a:cubicBezTo>
                    <a:cubicBezTo>
                      <a:pt x="64" y="1055"/>
                      <a:pt x="64" y="1055"/>
                      <a:pt x="64" y="1055"/>
                    </a:cubicBezTo>
                    <a:cubicBezTo>
                      <a:pt x="64" y="984"/>
                      <a:pt x="121" y="927"/>
                      <a:pt x="192" y="927"/>
                    </a:cubicBezTo>
                    <a:cubicBezTo>
                      <a:pt x="273" y="927"/>
                      <a:pt x="273" y="927"/>
                      <a:pt x="273" y="927"/>
                    </a:cubicBezTo>
                    <a:cubicBezTo>
                      <a:pt x="391" y="1075"/>
                      <a:pt x="391" y="1075"/>
                      <a:pt x="391" y="1075"/>
                    </a:cubicBezTo>
                    <a:cubicBezTo>
                      <a:pt x="392" y="1076"/>
                      <a:pt x="393" y="1076"/>
                      <a:pt x="393" y="1077"/>
                    </a:cubicBezTo>
                    <a:cubicBezTo>
                      <a:pt x="394" y="1078"/>
                      <a:pt x="395" y="1079"/>
                      <a:pt x="396" y="1080"/>
                    </a:cubicBezTo>
                    <a:cubicBezTo>
                      <a:pt x="397" y="1081"/>
                      <a:pt x="399" y="1082"/>
                      <a:pt x="400" y="1082"/>
                    </a:cubicBezTo>
                    <a:cubicBezTo>
                      <a:pt x="402" y="1083"/>
                      <a:pt x="403" y="1084"/>
                      <a:pt x="404" y="1084"/>
                    </a:cubicBezTo>
                    <a:cubicBezTo>
                      <a:pt x="408" y="1086"/>
                      <a:pt x="412" y="1087"/>
                      <a:pt x="416" y="1087"/>
                    </a:cubicBezTo>
                    <a:cubicBezTo>
                      <a:pt x="416" y="1087"/>
                      <a:pt x="416" y="1087"/>
                      <a:pt x="416" y="1087"/>
                    </a:cubicBezTo>
                    <a:cubicBezTo>
                      <a:pt x="416" y="1087"/>
                      <a:pt x="416" y="1087"/>
                      <a:pt x="416" y="1087"/>
                    </a:cubicBezTo>
                    <a:cubicBezTo>
                      <a:pt x="420" y="1087"/>
                      <a:pt x="424" y="1086"/>
                      <a:pt x="428" y="1084"/>
                    </a:cubicBezTo>
                    <a:cubicBezTo>
                      <a:pt x="429" y="1084"/>
                      <a:pt x="430" y="1083"/>
                      <a:pt x="432" y="1082"/>
                    </a:cubicBezTo>
                    <a:cubicBezTo>
                      <a:pt x="433" y="1082"/>
                      <a:pt x="435" y="1081"/>
                      <a:pt x="436" y="1080"/>
                    </a:cubicBezTo>
                    <a:cubicBezTo>
                      <a:pt x="437" y="1079"/>
                      <a:pt x="438" y="1078"/>
                      <a:pt x="439" y="1077"/>
                    </a:cubicBezTo>
                    <a:cubicBezTo>
                      <a:pt x="439" y="1076"/>
                      <a:pt x="440" y="1076"/>
                      <a:pt x="441" y="1075"/>
                    </a:cubicBezTo>
                    <a:cubicBezTo>
                      <a:pt x="560" y="927"/>
                      <a:pt x="560" y="927"/>
                      <a:pt x="560" y="927"/>
                    </a:cubicBezTo>
                    <a:cubicBezTo>
                      <a:pt x="640" y="927"/>
                      <a:pt x="640" y="927"/>
                      <a:pt x="640" y="927"/>
                    </a:cubicBezTo>
                    <a:cubicBezTo>
                      <a:pt x="711" y="927"/>
                      <a:pt x="768" y="984"/>
                      <a:pt x="768" y="1055"/>
                    </a:cubicBezTo>
                    <a:cubicBezTo>
                      <a:pt x="768" y="1119"/>
                      <a:pt x="768" y="1119"/>
                      <a:pt x="768" y="1119"/>
                    </a:cubicBezTo>
                    <a:cubicBezTo>
                      <a:pt x="768" y="1137"/>
                      <a:pt x="782" y="1151"/>
                      <a:pt x="800" y="1151"/>
                    </a:cubicBezTo>
                    <a:cubicBezTo>
                      <a:pt x="818" y="1151"/>
                      <a:pt x="832" y="1137"/>
                      <a:pt x="832" y="1119"/>
                    </a:cubicBezTo>
                    <a:cubicBezTo>
                      <a:pt x="832" y="1055"/>
                      <a:pt x="832" y="1055"/>
                      <a:pt x="832" y="1055"/>
                    </a:cubicBezTo>
                    <a:cubicBezTo>
                      <a:pt x="832" y="949"/>
                      <a:pt x="746" y="863"/>
                      <a:pt x="640" y="863"/>
                    </a:cubicBezTo>
                    <a:cubicBezTo>
                      <a:pt x="576" y="863"/>
                      <a:pt x="576" y="863"/>
                      <a:pt x="576" y="863"/>
                    </a:cubicBezTo>
                    <a:cubicBezTo>
                      <a:pt x="576" y="788"/>
                      <a:pt x="576" y="788"/>
                      <a:pt x="576" y="788"/>
                    </a:cubicBezTo>
                    <a:cubicBezTo>
                      <a:pt x="666" y="736"/>
                      <a:pt x="728" y="641"/>
                      <a:pt x="735" y="532"/>
                    </a:cubicBezTo>
                    <a:cubicBezTo>
                      <a:pt x="756" y="563"/>
                      <a:pt x="768" y="600"/>
                      <a:pt x="768" y="640"/>
                    </a:cubicBezTo>
                    <a:cubicBezTo>
                      <a:pt x="768" y="658"/>
                      <a:pt x="782" y="672"/>
                      <a:pt x="800" y="672"/>
                    </a:cubicBezTo>
                    <a:cubicBezTo>
                      <a:pt x="818" y="672"/>
                      <a:pt x="832" y="658"/>
                      <a:pt x="832" y="640"/>
                    </a:cubicBezTo>
                    <a:cubicBezTo>
                      <a:pt x="832" y="640"/>
                      <a:pt x="832" y="640"/>
                      <a:pt x="832" y="640"/>
                    </a:cubicBezTo>
                    <a:cubicBezTo>
                      <a:pt x="832" y="640"/>
                      <a:pt x="832" y="640"/>
                      <a:pt x="832" y="640"/>
                    </a:cubicBezTo>
                    <a:cubicBezTo>
                      <a:pt x="832" y="367"/>
                      <a:pt x="832" y="367"/>
                      <a:pt x="832" y="367"/>
                    </a:cubicBezTo>
                    <a:cubicBezTo>
                      <a:pt x="832" y="367"/>
                      <a:pt x="832" y="367"/>
                      <a:pt x="832" y="367"/>
                    </a:cubicBezTo>
                    <a:cubicBezTo>
                      <a:pt x="832" y="164"/>
                      <a:pt x="667" y="0"/>
                      <a:pt x="464" y="0"/>
                    </a:cubicBezTo>
                    <a:close/>
                    <a:moveTo>
                      <a:pt x="192" y="168"/>
                    </a:moveTo>
                    <a:cubicBezTo>
                      <a:pt x="192" y="319"/>
                      <a:pt x="192" y="319"/>
                      <a:pt x="192" y="319"/>
                    </a:cubicBezTo>
                    <a:cubicBezTo>
                      <a:pt x="192" y="343"/>
                      <a:pt x="179" y="363"/>
                      <a:pt x="160" y="374"/>
                    </a:cubicBezTo>
                    <a:cubicBezTo>
                      <a:pt x="160" y="223"/>
                      <a:pt x="160" y="223"/>
                      <a:pt x="160" y="223"/>
                    </a:cubicBezTo>
                    <a:cubicBezTo>
                      <a:pt x="160" y="223"/>
                      <a:pt x="160" y="223"/>
                      <a:pt x="160" y="223"/>
                    </a:cubicBezTo>
                    <a:cubicBezTo>
                      <a:pt x="160" y="199"/>
                      <a:pt x="173" y="179"/>
                      <a:pt x="192" y="168"/>
                    </a:cubicBezTo>
                    <a:close/>
                    <a:moveTo>
                      <a:pt x="512" y="884"/>
                    </a:moveTo>
                    <a:cubicBezTo>
                      <a:pt x="416" y="1004"/>
                      <a:pt x="416" y="1004"/>
                      <a:pt x="416" y="1004"/>
                    </a:cubicBezTo>
                    <a:cubicBezTo>
                      <a:pt x="320" y="884"/>
                      <a:pt x="320" y="884"/>
                      <a:pt x="320" y="884"/>
                    </a:cubicBezTo>
                    <a:cubicBezTo>
                      <a:pt x="320" y="816"/>
                      <a:pt x="320" y="816"/>
                      <a:pt x="320" y="816"/>
                    </a:cubicBezTo>
                    <a:cubicBezTo>
                      <a:pt x="350" y="826"/>
                      <a:pt x="383" y="831"/>
                      <a:pt x="416" y="831"/>
                    </a:cubicBezTo>
                    <a:cubicBezTo>
                      <a:pt x="449" y="831"/>
                      <a:pt x="482" y="826"/>
                      <a:pt x="512" y="816"/>
                    </a:cubicBezTo>
                    <a:lnTo>
                      <a:pt x="512" y="884"/>
                    </a:lnTo>
                    <a:close/>
                    <a:moveTo>
                      <a:pt x="416" y="767"/>
                    </a:moveTo>
                    <a:cubicBezTo>
                      <a:pt x="275" y="767"/>
                      <a:pt x="160" y="652"/>
                      <a:pt x="160" y="511"/>
                    </a:cubicBezTo>
                    <a:cubicBezTo>
                      <a:pt x="160" y="442"/>
                      <a:pt x="160" y="442"/>
                      <a:pt x="160" y="442"/>
                    </a:cubicBezTo>
                    <a:cubicBezTo>
                      <a:pt x="185" y="436"/>
                      <a:pt x="207" y="422"/>
                      <a:pt x="224" y="403"/>
                    </a:cubicBezTo>
                    <a:cubicBezTo>
                      <a:pt x="247" y="429"/>
                      <a:pt x="281" y="446"/>
                      <a:pt x="319" y="447"/>
                    </a:cubicBezTo>
                    <a:cubicBezTo>
                      <a:pt x="319" y="447"/>
                      <a:pt x="320" y="447"/>
                      <a:pt x="320" y="447"/>
                    </a:cubicBezTo>
                    <a:cubicBezTo>
                      <a:pt x="573" y="447"/>
                      <a:pt x="573" y="447"/>
                      <a:pt x="573" y="447"/>
                    </a:cubicBezTo>
                    <a:cubicBezTo>
                      <a:pt x="574" y="447"/>
                      <a:pt x="575" y="448"/>
                      <a:pt x="576" y="448"/>
                    </a:cubicBezTo>
                    <a:cubicBezTo>
                      <a:pt x="611" y="448"/>
                      <a:pt x="644" y="457"/>
                      <a:pt x="672" y="474"/>
                    </a:cubicBezTo>
                    <a:cubicBezTo>
                      <a:pt x="672" y="511"/>
                      <a:pt x="672" y="511"/>
                      <a:pt x="672" y="511"/>
                    </a:cubicBezTo>
                    <a:cubicBezTo>
                      <a:pt x="672" y="652"/>
                      <a:pt x="557" y="767"/>
                      <a:pt x="416" y="767"/>
                    </a:cubicBezTo>
                    <a:close/>
                    <a:moveTo>
                      <a:pt x="580" y="384"/>
                    </a:moveTo>
                    <a:cubicBezTo>
                      <a:pt x="579" y="384"/>
                      <a:pt x="577" y="383"/>
                      <a:pt x="576" y="383"/>
                    </a:cubicBezTo>
                    <a:cubicBezTo>
                      <a:pt x="321" y="383"/>
                      <a:pt x="321" y="383"/>
                      <a:pt x="321" y="383"/>
                    </a:cubicBezTo>
                    <a:cubicBezTo>
                      <a:pt x="320" y="383"/>
                      <a:pt x="320" y="383"/>
                      <a:pt x="320" y="383"/>
                    </a:cubicBezTo>
                    <a:cubicBezTo>
                      <a:pt x="285" y="383"/>
                      <a:pt x="256" y="354"/>
                      <a:pt x="256" y="319"/>
                    </a:cubicBezTo>
                    <a:cubicBezTo>
                      <a:pt x="256" y="319"/>
                      <a:pt x="256" y="319"/>
                      <a:pt x="256" y="318"/>
                    </a:cubicBezTo>
                    <a:cubicBezTo>
                      <a:pt x="256" y="141"/>
                      <a:pt x="256" y="141"/>
                      <a:pt x="256" y="141"/>
                    </a:cubicBezTo>
                    <a:cubicBezTo>
                      <a:pt x="310" y="91"/>
                      <a:pt x="383" y="63"/>
                      <a:pt x="464" y="63"/>
                    </a:cubicBezTo>
                    <a:cubicBezTo>
                      <a:pt x="632" y="63"/>
                      <a:pt x="768" y="200"/>
                      <a:pt x="768" y="367"/>
                    </a:cubicBezTo>
                    <a:cubicBezTo>
                      <a:pt x="768" y="368"/>
                      <a:pt x="768" y="368"/>
                      <a:pt x="768" y="368"/>
                    </a:cubicBezTo>
                    <a:cubicBezTo>
                      <a:pt x="768" y="471"/>
                      <a:pt x="768" y="471"/>
                      <a:pt x="768" y="471"/>
                    </a:cubicBezTo>
                    <a:cubicBezTo>
                      <a:pt x="722" y="419"/>
                      <a:pt x="655" y="385"/>
                      <a:pt x="580" y="3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grpSp>
            <p:nvGrpSpPr>
              <p:cNvPr id="566" name="Group 565">
                <a:extLst>
                  <a:ext uri="{FF2B5EF4-FFF2-40B4-BE49-F238E27FC236}">
                    <a16:creationId xmlns:a16="http://schemas.microsoft.com/office/drawing/2014/main" id="{DAB21EBD-98AD-DB6F-3ADC-C3766BA22B81}"/>
                  </a:ext>
                </a:extLst>
              </p:cNvPr>
              <p:cNvGrpSpPr/>
              <p:nvPr/>
            </p:nvGrpSpPr>
            <p:grpSpPr>
              <a:xfrm>
                <a:off x="3148149" y="3669124"/>
                <a:ext cx="373063" cy="459552"/>
                <a:chOff x="3219451" y="3669124"/>
                <a:chExt cx="373063" cy="459552"/>
              </a:xfrm>
              <a:grpFill/>
            </p:grpSpPr>
            <p:sp>
              <p:nvSpPr>
                <p:cNvPr id="567" name="Freeform 10">
                  <a:extLst>
                    <a:ext uri="{FF2B5EF4-FFF2-40B4-BE49-F238E27FC236}">
                      <a16:creationId xmlns:a16="http://schemas.microsoft.com/office/drawing/2014/main" id="{1D1FDF10-86C7-3E75-E1F3-C3CCA8B4D40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219451" y="3669124"/>
                  <a:ext cx="373063" cy="459552"/>
                </a:xfrm>
                <a:custGeom>
                  <a:avLst/>
                  <a:gdLst>
                    <a:gd name="T0" fmla="*/ 576 w 832"/>
                    <a:gd name="T1" fmla="*/ 832 h 1120"/>
                    <a:gd name="T2" fmla="*/ 736 w 832"/>
                    <a:gd name="T3" fmla="*/ 480 h 1120"/>
                    <a:gd name="T4" fmla="*/ 736 w 832"/>
                    <a:gd name="T5" fmla="*/ 480 h 1120"/>
                    <a:gd name="T6" fmla="*/ 668 w 832"/>
                    <a:gd name="T7" fmla="*/ 134 h 1120"/>
                    <a:gd name="T8" fmla="*/ 400 w 832"/>
                    <a:gd name="T9" fmla="*/ 0 h 1120"/>
                    <a:gd name="T10" fmla="*/ 65 w 832"/>
                    <a:gd name="T11" fmla="*/ 340 h 1120"/>
                    <a:gd name="T12" fmla="*/ 69 w 832"/>
                    <a:gd name="T13" fmla="*/ 352 h 1120"/>
                    <a:gd name="T14" fmla="*/ 76 w 832"/>
                    <a:gd name="T15" fmla="*/ 361 h 1120"/>
                    <a:gd name="T16" fmla="*/ 87 w 832"/>
                    <a:gd name="T17" fmla="*/ 366 h 1120"/>
                    <a:gd name="T18" fmla="*/ 96 w 832"/>
                    <a:gd name="T19" fmla="*/ 368 h 1120"/>
                    <a:gd name="T20" fmla="*/ 96 w 832"/>
                    <a:gd name="T21" fmla="*/ 479 h 1120"/>
                    <a:gd name="T22" fmla="*/ 256 w 832"/>
                    <a:gd name="T23" fmla="*/ 757 h 1120"/>
                    <a:gd name="T24" fmla="*/ 192 w 832"/>
                    <a:gd name="T25" fmla="*/ 832 h 1120"/>
                    <a:gd name="T26" fmla="*/ 0 w 832"/>
                    <a:gd name="T27" fmla="*/ 1088 h 1120"/>
                    <a:gd name="T28" fmla="*/ 64 w 832"/>
                    <a:gd name="T29" fmla="*/ 1088 h 1120"/>
                    <a:gd name="T30" fmla="*/ 192 w 832"/>
                    <a:gd name="T31" fmla="*/ 896 h 1120"/>
                    <a:gd name="T32" fmla="*/ 338 w 832"/>
                    <a:gd name="T33" fmla="*/ 925 h 1120"/>
                    <a:gd name="T34" fmla="*/ 352 w 832"/>
                    <a:gd name="T35" fmla="*/ 928 h 1120"/>
                    <a:gd name="T36" fmla="*/ 352 w 832"/>
                    <a:gd name="T37" fmla="*/ 928 h 1120"/>
                    <a:gd name="T38" fmla="*/ 352 w 832"/>
                    <a:gd name="T39" fmla="*/ 928 h 1120"/>
                    <a:gd name="T40" fmla="*/ 366 w 832"/>
                    <a:gd name="T41" fmla="*/ 925 h 1120"/>
                    <a:gd name="T42" fmla="*/ 466 w 832"/>
                    <a:gd name="T43" fmla="*/ 925 h 1120"/>
                    <a:gd name="T44" fmla="*/ 480 w 832"/>
                    <a:gd name="T45" fmla="*/ 928 h 1120"/>
                    <a:gd name="T46" fmla="*/ 480 w 832"/>
                    <a:gd name="T47" fmla="*/ 928 h 1120"/>
                    <a:gd name="T48" fmla="*/ 480 w 832"/>
                    <a:gd name="T49" fmla="*/ 928 h 1120"/>
                    <a:gd name="T50" fmla="*/ 494 w 832"/>
                    <a:gd name="T51" fmla="*/ 925 h 1120"/>
                    <a:gd name="T52" fmla="*/ 640 w 832"/>
                    <a:gd name="T53" fmla="*/ 896 h 1120"/>
                    <a:gd name="T54" fmla="*/ 768 w 832"/>
                    <a:gd name="T55" fmla="*/ 1088 h 1120"/>
                    <a:gd name="T56" fmla="*/ 832 w 832"/>
                    <a:gd name="T57" fmla="*/ 1088 h 1120"/>
                    <a:gd name="T58" fmla="*/ 640 w 832"/>
                    <a:gd name="T59" fmla="*/ 832 h 1120"/>
                    <a:gd name="T60" fmla="*/ 603 w 832"/>
                    <a:gd name="T61" fmla="*/ 255 h 1120"/>
                    <a:gd name="T62" fmla="*/ 668 w 832"/>
                    <a:gd name="T63" fmla="*/ 290 h 1120"/>
                    <a:gd name="T64" fmla="*/ 599 w 832"/>
                    <a:gd name="T65" fmla="*/ 151 h 1120"/>
                    <a:gd name="T66" fmla="*/ 453 w 832"/>
                    <a:gd name="T67" fmla="*/ 274 h 1120"/>
                    <a:gd name="T68" fmla="*/ 400 w 832"/>
                    <a:gd name="T69" fmla="*/ 64 h 1120"/>
                    <a:gd name="T70" fmla="*/ 160 w 832"/>
                    <a:gd name="T71" fmla="*/ 479 h 1120"/>
                    <a:gd name="T72" fmla="*/ 160 w 832"/>
                    <a:gd name="T73" fmla="*/ 376 h 1120"/>
                    <a:gd name="T74" fmla="*/ 672 w 832"/>
                    <a:gd name="T75" fmla="*/ 386 h 1120"/>
                    <a:gd name="T76" fmla="*/ 672 w 832"/>
                    <a:gd name="T77" fmla="*/ 480 h 1120"/>
                    <a:gd name="T78" fmla="*/ 416 w 832"/>
                    <a:gd name="T79" fmla="*/ 736 h 1120"/>
                    <a:gd name="T80" fmla="*/ 416 w 832"/>
                    <a:gd name="T81" fmla="*/ 800 h 1120"/>
                    <a:gd name="T82" fmla="*/ 512 w 832"/>
                    <a:gd name="T83" fmla="*/ 844 h 1120"/>
                    <a:gd name="T84" fmla="*/ 430 w 832"/>
                    <a:gd name="T85" fmla="*/ 835 h 1120"/>
                    <a:gd name="T86" fmla="*/ 422 w 832"/>
                    <a:gd name="T87" fmla="*/ 833 h 1120"/>
                    <a:gd name="T88" fmla="*/ 410 w 832"/>
                    <a:gd name="T89" fmla="*/ 833 h 1120"/>
                    <a:gd name="T90" fmla="*/ 402 w 832"/>
                    <a:gd name="T91" fmla="*/ 835 h 1120"/>
                    <a:gd name="T92" fmla="*/ 320 w 832"/>
                    <a:gd name="T93" fmla="*/ 844 h 1120"/>
                    <a:gd name="T94" fmla="*/ 416 w 832"/>
                    <a:gd name="T95" fmla="*/ 800 h 1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832" h="1120">
                      <a:moveTo>
                        <a:pt x="640" y="832"/>
                      </a:moveTo>
                      <a:cubicBezTo>
                        <a:pt x="576" y="832"/>
                        <a:pt x="576" y="832"/>
                        <a:pt x="576" y="832"/>
                      </a:cubicBezTo>
                      <a:cubicBezTo>
                        <a:pt x="576" y="757"/>
                        <a:pt x="576" y="757"/>
                        <a:pt x="576" y="757"/>
                      </a:cubicBezTo>
                      <a:cubicBezTo>
                        <a:pt x="671" y="701"/>
                        <a:pt x="736" y="598"/>
                        <a:pt x="736" y="480"/>
                      </a:cubicBezTo>
                      <a:cubicBezTo>
                        <a:pt x="736" y="480"/>
                        <a:pt x="736" y="480"/>
                        <a:pt x="736" y="480"/>
                      </a:cubicBezTo>
                      <a:cubicBezTo>
                        <a:pt x="736" y="480"/>
                        <a:pt x="736" y="480"/>
                        <a:pt x="736" y="480"/>
                      </a:cubicBezTo>
                      <a:cubicBezTo>
                        <a:pt x="736" y="336"/>
                        <a:pt x="736" y="336"/>
                        <a:pt x="736" y="336"/>
                      </a:cubicBezTo>
                      <a:cubicBezTo>
                        <a:pt x="736" y="260"/>
                        <a:pt x="710" y="190"/>
                        <a:pt x="668" y="134"/>
                      </a:cubicBezTo>
                      <a:cubicBezTo>
                        <a:pt x="667" y="133"/>
                        <a:pt x="666" y="132"/>
                        <a:pt x="665" y="130"/>
                      </a:cubicBezTo>
                      <a:cubicBezTo>
                        <a:pt x="604" y="51"/>
                        <a:pt x="508" y="0"/>
                        <a:pt x="400" y="0"/>
                      </a:cubicBezTo>
                      <a:cubicBezTo>
                        <a:pt x="215" y="0"/>
                        <a:pt x="64" y="151"/>
                        <a:pt x="64" y="336"/>
                      </a:cubicBezTo>
                      <a:cubicBezTo>
                        <a:pt x="64" y="337"/>
                        <a:pt x="65" y="339"/>
                        <a:pt x="65" y="340"/>
                      </a:cubicBezTo>
                      <a:cubicBezTo>
                        <a:pt x="65" y="342"/>
                        <a:pt x="65" y="344"/>
                        <a:pt x="66" y="346"/>
                      </a:cubicBezTo>
                      <a:cubicBezTo>
                        <a:pt x="67" y="348"/>
                        <a:pt x="68" y="350"/>
                        <a:pt x="69" y="352"/>
                      </a:cubicBezTo>
                      <a:cubicBezTo>
                        <a:pt x="70" y="353"/>
                        <a:pt x="71" y="355"/>
                        <a:pt x="72" y="357"/>
                      </a:cubicBezTo>
                      <a:cubicBezTo>
                        <a:pt x="73" y="358"/>
                        <a:pt x="75" y="359"/>
                        <a:pt x="76" y="361"/>
                      </a:cubicBezTo>
                      <a:cubicBezTo>
                        <a:pt x="78" y="362"/>
                        <a:pt x="80" y="363"/>
                        <a:pt x="81" y="364"/>
                      </a:cubicBezTo>
                      <a:cubicBezTo>
                        <a:pt x="83" y="365"/>
                        <a:pt x="85" y="366"/>
                        <a:pt x="87" y="366"/>
                      </a:cubicBezTo>
                      <a:cubicBezTo>
                        <a:pt x="89" y="367"/>
                        <a:pt x="90" y="367"/>
                        <a:pt x="91" y="368"/>
                      </a:cubicBezTo>
                      <a:cubicBezTo>
                        <a:pt x="93" y="368"/>
                        <a:pt x="94" y="368"/>
                        <a:pt x="96" y="368"/>
                      </a:cubicBezTo>
                      <a:cubicBezTo>
                        <a:pt x="96" y="479"/>
                        <a:pt x="96" y="479"/>
                        <a:pt x="96" y="479"/>
                      </a:cubicBezTo>
                      <a:cubicBezTo>
                        <a:pt x="96" y="479"/>
                        <a:pt x="96" y="479"/>
                        <a:pt x="96" y="479"/>
                      </a:cubicBezTo>
                      <a:cubicBezTo>
                        <a:pt x="96" y="480"/>
                        <a:pt x="96" y="480"/>
                        <a:pt x="96" y="480"/>
                      </a:cubicBezTo>
                      <a:cubicBezTo>
                        <a:pt x="96" y="598"/>
                        <a:pt x="160" y="701"/>
                        <a:pt x="256" y="757"/>
                      </a:cubicBezTo>
                      <a:cubicBezTo>
                        <a:pt x="256" y="832"/>
                        <a:pt x="256" y="832"/>
                        <a:pt x="256" y="832"/>
                      </a:cubicBezTo>
                      <a:cubicBezTo>
                        <a:pt x="192" y="832"/>
                        <a:pt x="192" y="832"/>
                        <a:pt x="192" y="832"/>
                      </a:cubicBezTo>
                      <a:cubicBezTo>
                        <a:pt x="86" y="832"/>
                        <a:pt x="0" y="918"/>
                        <a:pt x="0" y="1024"/>
                      </a:cubicBezTo>
                      <a:cubicBezTo>
                        <a:pt x="0" y="1088"/>
                        <a:pt x="0" y="1088"/>
                        <a:pt x="0" y="1088"/>
                      </a:cubicBezTo>
                      <a:cubicBezTo>
                        <a:pt x="0" y="1106"/>
                        <a:pt x="14" y="1120"/>
                        <a:pt x="32" y="1120"/>
                      </a:cubicBezTo>
                      <a:cubicBezTo>
                        <a:pt x="50" y="1120"/>
                        <a:pt x="64" y="1106"/>
                        <a:pt x="64" y="1088"/>
                      </a:cubicBezTo>
                      <a:cubicBezTo>
                        <a:pt x="64" y="1024"/>
                        <a:pt x="64" y="1024"/>
                        <a:pt x="64" y="1024"/>
                      </a:cubicBezTo>
                      <a:cubicBezTo>
                        <a:pt x="64" y="953"/>
                        <a:pt x="121" y="896"/>
                        <a:pt x="192" y="896"/>
                      </a:cubicBezTo>
                      <a:cubicBezTo>
                        <a:pt x="280" y="896"/>
                        <a:pt x="280" y="896"/>
                        <a:pt x="280" y="896"/>
                      </a:cubicBezTo>
                      <a:cubicBezTo>
                        <a:pt x="338" y="925"/>
                        <a:pt x="338" y="925"/>
                        <a:pt x="338" y="925"/>
                      </a:cubicBezTo>
                      <a:cubicBezTo>
                        <a:pt x="338" y="925"/>
                        <a:pt x="339" y="925"/>
                        <a:pt x="339" y="925"/>
                      </a:cubicBezTo>
                      <a:cubicBezTo>
                        <a:pt x="343" y="927"/>
                        <a:pt x="347" y="928"/>
                        <a:pt x="352" y="928"/>
                      </a:cubicBezTo>
                      <a:cubicBezTo>
                        <a:pt x="352" y="928"/>
                        <a:pt x="352" y="928"/>
                        <a:pt x="352" y="928"/>
                      </a:cubicBezTo>
                      <a:cubicBezTo>
                        <a:pt x="352" y="928"/>
                        <a:pt x="352" y="928"/>
                        <a:pt x="352" y="928"/>
                      </a:cubicBezTo>
                      <a:cubicBezTo>
                        <a:pt x="352" y="928"/>
                        <a:pt x="352" y="928"/>
                        <a:pt x="352" y="928"/>
                      </a:cubicBezTo>
                      <a:cubicBezTo>
                        <a:pt x="352" y="928"/>
                        <a:pt x="352" y="928"/>
                        <a:pt x="352" y="928"/>
                      </a:cubicBezTo>
                      <a:cubicBezTo>
                        <a:pt x="357" y="928"/>
                        <a:pt x="361" y="927"/>
                        <a:pt x="365" y="925"/>
                      </a:cubicBezTo>
                      <a:cubicBezTo>
                        <a:pt x="365" y="925"/>
                        <a:pt x="366" y="925"/>
                        <a:pt x="366" y="925"/>
                      </a:cubicBezTo>
                      <a:cubicBezTo>
                        <a:pt x="416" y="900"/>
                        <a:pt x="416" y="900"/>
                        <a:pt x="416" y="900"/>
                      </a:cubicBezTo>
                      <a:cubicBezTo>
                        <a:pt x="466" y="925"/>
                        <a:pt x="466" y="925"/>
                        <a:pt x="466" y="925"/>
                      </a:cubicBezTo>
                      <a:cubicBezTo>
                        <a:pt x="466" y="925"/>
                        <a:pt x="467" y="925"/>
                        <a:pt x="467" y="925"/>
                      </a:cubicBezTo>
                      <a:cubicBezTo>
                        <a:pt x="471" y="927"/>
                        <a:pt x="475" y="928"/>
                        <a:pt x="480" y="928"/>
                      </a:cubicBezTo>
                      <a:cubicBezTo>
                        <a:pt x="480" y="928"/>
                        <a:pt x="480" y="928"/>
                        <a:pt x="480" y="928"/>
                      </a:cubicBezTo>
                      <a:cubicBezTo>
                        <a:pt x="480" y="928"/>
                        <a:pt x="480" y="928"/>
                        <a:pt x="480" y="928"/>
                      </a:cubicBezTo>
                      <a:cubicBezTo>
                        <a:pt x="480" y="928"/>
                        <a:pt x="480" y="928"/>
                        <a:pt x="480" y="928"/>
                      </a:cubicBezTo>
                      <a:cubicBezTo>
                        <a:pt x="480" y="928"/>
                        <a:pt x="480" y="928"/>
                        <a:pt x="480" y="928"/>
                      </a:cubicBezTo>
                      <a:cubicBezTo>
                        <a:pt x="485" y="928"/>
                        <a:pt x="489" y="927"/>
                        <a:pt x="493" y="925"/>
                      </a:cubicBezTo>
                      <a:cubicBezTo>
                        <a:pt x="493" y="925"/>
                        <a:pt x="494" y="925"/>
                        <a:pt x="494" y="925"/>
                      </a:cubicBezTo>
                      <a:cubicBezTo>
                        <a:pt x="552" y="896"/>
                        <a:pt x="552" y="896"/>
                        <a:pt x="552" y="896"/>
                      </a:cubicBezTo>
                      <a:cubicBezTo>
                        <a:pt x="640" y="896"/>
                        <a:pt x="640" y="896"/>
                        <a:pt x="640" y="896"/>
                      </a:cubicBezTo>
                      <a:cubicBezTo>
                        <a:pt x="711" y="896"/>
                        <a:pt x="768" y="953"/>
                        <a:pt x="768" y="1024"/>
                      </a:cubicBezTo>
                      <a:cubicBezTo>
                        <a:pt x="768" y="1088"/>
                        <a:pt x="768" y="1088"/>
                        <a:pt x="768" y="1088"/>
                      </a:cubicBezTo>
                      <a:cubicBezTo>
                        <a:pt x="768" y="1106"/>
                        <a:pt x="782" y="1120"/>
                        <a:pt x="800" y="1120"/>
                      </a:cubicBezTo>
                      <a:cubicBezTo>
                        <a:pt x="818" y="1120"/>
                        <a:pt x="832" y="1106"/>
                        <a:pt x="832" y="1088"/>
                      </a:cubicBezTo>
                      <a:cubicBezTo>
                        <a:pt x="832" y="1024"/>
                        <a:pt x="832" y="1024"/>
                        <a:pt x="832" y="1024"/>
                      </a:cubicBezTo>
                      <a:cubicBezTo>
                        <a:pt x="832" y="918"/>
                        <a:pt x="746" y="832"/>
                        <a:pt x="640" y="832"/>
                      </a:cubicBezTo>
                      <a:close/>
                      <a:moveTo>
                        <a:pt x="668" y="290"/>
                      </a:moveTo>
                      <a:cubicBezTo>
                        <a:pt x="646" y="272"/>
                        <a:pt x="624" y="261"/>
                        <a:pt x="603" y="255"/>
                      </a:cubicBezTo>
                      <a:cubicBezTo>
                        <a:pt x="639" y="206"/>
                        <a:pt x="639" y="206"/>
                        <a:pt x="639" y="206"/>
                      </a:cubicBezTo>
                      <a:cubicBezTo>
                        <a:pt x="653" y="232"/>
                        <a:pt x="663" y="260"/>
                        <a:pt x="668" y="290"/>
                      </a:cubicBezTo>
                      <a:close/>
                      <a:moveTo>
                        <a:pt x="400" y="64"/>
                      </a:moveTo>
                      <a:cubicBezTo>
                        <a:pt x="479" y="64"/>
                        <a:pt x="549" y="98"/>
                        <a:pt x="599" y="151"/>
                      </a:cubicBezTo>
                      <a:cubicBezTo>
                        <a:pt x="526" y="254"/>
                        <a:pt x="526" y="254"/>
                        <a:pt x="526" y="254"/>
                      </a:cubicBezTo>
                      <a:cubicBezTo>
                        <a:pt x="502" y="258"/>
                        <a:pt x="479" y="266"/>
                        <a:pt x="453" y="274"/>
                      </a:cubicBezTo>
                      <a:cubicBezTo>
                        <a:pt x="382" y="297"/>
                        <a:pt x="285" y="327"/>
                        <a:pt x="129" y="308"/>
                      </a:cubicBezTo>
                      <a:cubicBezTo>
                        <a:pt x="144" y="171"/>
                        <a:pt x="259" y="64"/>
                        <a:pt x="400" y="64"/>
                      </a:cubicBezTo>
                      <a:close/>
                      <a:moveTo>
                        <a:pt x="160" y="480"/>
                      </a:moveTo>
                      <a:cubicBezTo>
                        <a:pt x="160" y="480"/>
                        <a:pt x="160" y="480"/>
                        <a:pt x="160" y="479"/>
                      </a:cubicBezTo>
                      <a:cubicBezTo>
                        <a:pt x="160" y="479"/>
                        <a:pt x="160" y="479"/>
                        <a:pt x="160" y="479"/>
                      </a:cubicBezTo>
                      <a:cubicBezTo>
                        <a:pt x="160" y="376"/>
                        <a:pt x="160" y="376"/>
                        <a:pt x="160" y="376"/>
                      </a:cubicBezTo>
                      <a:cubicBezTo>
                        <a:pt x="307" y="388"/>
                        <a:pt x="402" y="358"/>
                        <a:pt x="473" y="335"/>
                      </a:cubicBezTo>
                      <a:cubicBezTo>
                        <a:pt x="563" y="305"/>
                        <a:pt x="599" y="294"/>
                        <a:pt x="672" y="386"/>
                      </a:cubicBezTo>
                      <a:cubicBezTo>
                        <a:pt x="672" y="480"/>
                        <a:pt x="672" y="480"/>
                        <a:pt x="672" y="480"/>
                      </a:cubicBezTo>
                      <a:cubicBezTo>
                        <a:pt x="672" y="480"/>
                        <a:pt x="672" y="480"/>
                        <a:pt x="672" y="480"/>
                      </a:cubicBezTo>
                      <a:cubicBezTo>
                        <a:pt x="672" y="480"/>
                        <a:pt x="672" y="480"/>
                        <a:pt x="672" y="480"/>
                      </a:cubicBezTo>
                      <a:cubicBezTo>
                        <a:pt x="672" y="621"/>
                        <a:pt x="557" y="736"/>
                        <a:pt x="416" y="736"/>
                      </a:cubicBezTo>
                      <a:cubicBezTo>
                        <a:pt x="275" y="736"/>
                        <a:pt x="160" y="621"/>
                        <a:pt x="160" y="480"/>
                      </a:cubicBezTo>
                      <a:close/>
                      <a:moveTo>
                        <a:pt x="416" y="800"/>
                      </a:moveTo>
                      <a:cubicBezTo>
                        <a:pt x="449" y="800"/>
                        <a:pt x="482" y="795"/>
                        <a:pt x="512" y="785"/>
                      </a:cubicBezTo>
                      <a:cubicBezTo>
                        <a:pt x="512" y="844"/>
                        <a:pt x="512" y="844"/>
                        <a:pt x="512" y="844"/>
                      </a:cubicBezTo>
                      <a:cubicBezTo>
                        <a:pt x="480" y="860"/>
                        <a:pt x="480" y="860"/>
                        <a:pt x="480" y="860"/>
                      </a:cubicBezTo>
                      <a:cubicBezTo>
                        <a:pt x="430" y="835"/>
                        <a:pt x="430" y="835"/>
                        <a:pt x="430" y="835"/>
                      </a:cubicBezTo>
                      <a:cubicBezTo>
                        <a:pt x="430" y="835"/>
                        <a:pt x="429" y="835"/>
                        <a:pt x="428" y="835"/>
                      </a:cubicBezTo>
                      <a:cubicBezTo>
                        <a:pt x="426" y="834"/>
                        <a:pt x="424" y="834"/>
                        <a:pt x="422" y="833"/>
                      </a:cubicBezTo>
                      <a:cubicBezTo>
                        <a:pt x="420" y="833"/>
                        <a:pt x="418" y="832"/>
                        <a:pt x="416" y="832"/>
                      </a:cubicBezTo>
                      <a:cubicBezTo>
                        <a:pt x="414" y="832"/>
                        <a:pt x="412" y="833"/>
                        <a:pt x="410" y="833"/>
                      </a:cubicBezTo>
                      <a:cubicBezTo>
                        <a:pt x="408" y="834"/>
                        <a:pt x="406" y="834"/>
                        <a:pt x="404" y="835"/>
                      </a:cubicBezTo>
                      <a:cubicBezTo>
                        <a:pt x="403" y="835"/>
                        <a:pt x="402" y="835"/>
                        <a:pt x="402" y="835"/>
                      </a:cubicBezTo>
                      <a:cubicBezTo>
                        <a:pt x="352" y="860"/>
                        <a:pt x="352" y="860"/>
                        <a:pt x="352" y="860"/>
                      </a:cubicBezTo>
                      <a:cubicBezTo>
                        <a:pt x="320" y="844"/>
                        <a:pt x="320" y="844"/>
                        <a:pt x="320" y="844"/>
                      </a:cubicBezTo>
                      <a:cubicBezTo>
                        <a:pt x="320" y="785"/>
                        <a:pt x="320" y="785"/>
                        <a:pt x="320" y="785"/>
                      </a:cubicBezTo>
                      <a:cubicBezTo>
                        <a:pt x="350" y="795"/>
                        <a:pt x="383" y="800"/>
                        <a:pt x="416" y="80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  <p:sp>
              <p:nvSpPr>
                <p:cNvPr id="568" name="Freeform 12">
                  <a:extLst>
                    <a:ext uri="{FF2B5EF4-FFF2-40B4-BE49-F238E27FC236}">
                      <a16:creationId xmlns:a16="http://schemas.microsoft.com/office/drawing/2014/main" id="{E8A0B1D8-9262-9454-EBAE-17E261113F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2488" y="4086226"/>
                  <a:ext cx="28575" cy="28575"/>
                </a:xfrm>
                <a:custGeom>
                  <a:avLst/>
                  <a:gdLst>
                    <a:gd name="T0" fmla="*/ 32 w 64"/>
                    <a:gd name="T1" fmla="*/ 0 h 64"/>
                    <a:gd name="T2" fmla="*/ 32 w 64"/>
                    <a:gd name="T3" fmla="*/ 0 h 64"/>
                    <a:gd name="T4" fmla="*/ 0 w 64"/>
                    <a:gd name="T5" fmla="*/ 32 h 64"/>
                    <a:gd name="T6" fmla="*/ 32 w 64"/>
                    <a:gd name="T7" fmla="*/ 64 h 64"/>
                    <a:gd name="T8" fmla="*/ 64 w 64"/>
                    <a:gd name="T9" fmla="*/ 32 h 64"/>
                    <a:gd name="T10" fmla="*/ 32 w 64"/>
                    <a:gd name="T1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4" h="64">
                      <a:moveTo>
                        <a:pt x="32" y="0"/>
                      </a:move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14" y="0"/>
                        <a:pt x="0" y="14"/>
                        <a:pt x="0" y="32"/>
                      </a:cubicBezTo>
                      <a:cubicBezTo>
                        <a:pt x="0" y="50"/>
                        <a:pt x="14" y="64"/>
                        <a:pt x="32" y="64"/>
                      </a:cubicBezTo>
                      <a:cubicBezTo>
                        <a:pt x="50" y="64"/>
                        <a:pt x="64" y="50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6012" tIns="48007" rIns="96012" bIns="480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altLang="zh-CN" sz="1891" dirty="0"/>
                </a:p>
              </p:txBody>
            </p:sp>
          </p:grpSp>
        </p:grpSp>
        <p:sp>
          <p:nvSpPr>
            <p:cNvPr id="536" name="TextBox 535">
              <a:extLst>
                <a:ext uri="{FF2B5EF4-FFF2-40B4-BE49-F238E27FC236}">
                  <a16:creationId xmlns:a16="http://schemas.microsoft.com/office/drawing/2014/main" id="{AAF57E36-7145-A8AA-2317-3D4D422EF1C3}"/>
                </a:ext>
              </a:extLst>
            </p:cNvPr>
            <p:cNvSpPr txBox="1"/>
            <p:nvPr/>
          </p:nvSpPr>
          <p:spPr>
            <a:xfrm>
              <a:off x="1750794" y="5571868"/>
              <a:ext cx="1148540" cy="166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pt-BR" altLang="zh-CN" sz="1100" b="1" kern="0" dirty="0">
                  <a:solidFill>
                    <a:schemeClr val="tx1">
                      <a:lumMod val="100000"/>
                    </a:schemeClr>
                  </a:solidFill>
                  <a:cs typeface="Calibri" panose="020F0502020204030204" pitchFamily="34" charset="0"/>
                </a:rPr>
                <a:t>Cliente (PF ou PJ)</a:t>
              </a:r>
            </a:p>
          </p:txBody>
        </p: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FEF881F3-8AC6-6241-6F29-E627F1B0E8E1}"/>
                </a:ext>
              </a:extLst>
            </p:cNvPr>
            <p:cNvSpPr/>
            <p:nvPr/>
          </p:nvSpPr>
          <p:spPr>
            <a:xfrm>
              <a:off x="3723589" y="5075676"/>
              <a:ext cx="474350" cy="474350"/>
            </a:xfrm>
            <a:prstGeom prst="ellipse">
              <a:avLst/>
            </a:prstGeom>
            <a:solidFill>
              <a:srgbClr val="49C1E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809" tIns="76809" rIns="76809" bIns="76809" rtlCol="0" anchor="ctr"/>
            <a:lstStyle/>
            <a:p>
              <a:pPr algn="ctr"/>
              <a:endParaRPr lang="pt-BR" altLang="zh-CN" sz="1051" kern="0" dirty="0">
                <a:solidFill>
                  <a:schemeClr val="tx1"/>
                </a:solidFill>
              </a:endParaRPr>
            </a:p>
          </p:txBody>
        </p:sp>
        <p:grpSp>
          <p:nvGrpSpPr>
            <p:cNvPr id="552" name="Group 551">
              <a:extLst>
                <a:ext uri="{FF2B5EF4-FFF2-40B4-BE49-F238E27FC236}">
                  <a16:creationId xmlns:a16="http://schemas.microsoft.com/office/drawing/2014/main" id="{6DF2F72F-1855-9154-BF96-DD1B242AA973}"/>
                </a:ext>
              </a:extLst>
            </p:cNvPr>
            <p:cNvGrpSpPr/>
            <p:nvPr/>
          </p:nvGrpSpPr>
          <p:grpSpPr>
            <a:xfrm>
              <a:off x="3839199" y="5184926"/>
              <a:ext cx="243129" cy="255850"/>
              <a:chOff x="4265613" y="3578225"/>
              <a:chExt cx="568325" cy="568325"/>
            </a:xfrm>
            <a:solidFill>
              <a:schemeClr val="bg1"/>
            </a:solidFill>
          </p:grpSpPr>
          <p:sp>
            <p:nvSpPr>
              <p:cNvPr id="553" name="Freeform 16">
                <a:extLst>
                  <a:ext uri="{FF2B5EF4-FFF2-40B4-BE49-F238E27FC236}">
                    <a16:creationId xmlns:a16="http://schemas.microsoft.com/office/drawing/2014/main" id="{A1FD7DDC-ED54-6943-D950-AF1288EFFC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65613" y="3578225"/>
                <a:ext cx="568325" cy="568325"/>
              </a:xfrm>
              <a:custGeom>
                <a:avLst/>
                <a:gdLst>
                  <a:gd name="T0" fmla="*/ 1856 w 1984"/>
                  <a:gd name="T1" fmla="*/ 1792 h 1984"/>
                  <a:gd name="T2" fmla="*/ 1760 w 1984"/>
                  <a:gd name="T3" fmla="*/ 704 h 1984"/>
                  <a:gd name="T4" fmla="*/ 1408 w 1984"/>
                  <a:gd name="T5" fmla="*/ 448 h 1984"/>
                  <a:gd name="T6" fmla="*/ 1463 w 1984"/>
                  <a:gd name="T7" fmla="*/ 192 h 1984"/>
                  <a:gd name="T8" fmla="*/ 1066 w 1984"/>
                  <a:gd name="T9" fmla="*/ 0 h 1984"/>
                  <a:gd name="T10" fmla="*/ 630 w 1984"/>
                  <a:gd name="T11" fmla="*/ 192 h 1984"/>
                  <a:gd name="T12" fmla="*/ 436 w 1984"/>
                  <a:gd name="T13" fmla="*/ 448 h 1984"/>
                  <a:gd name="T14" fmla="*/ 576 w 1984"/>
                  <a:gd name="T15" fmla="*/ 704 h 1984"/>
                  <a:gd name="T16" fmla="*/ 128 w 1984"/>
                  <a:gd name="T17" fmla="*/ 800 h 1984"/>
                  <a:gd name="T18" fmla="*/ 96 w 1984"/>
                  <a:gd name="T19" fmla="*/ 1792 h 1984"/>
                  <a:gd name="T20" fmla="*/ 0 w 1984"/>
                  <a:gd name="T21" fmla="*/ 1984 h 1984"/>
                  <a:gd name="T22" fmla="*/ 1984 w 1984"/>
                  <a:gd name="T23" fmla="*/ 1888 h 1984"/>
                  <a:gd name="T24" fmla="*/ 1760 w 1984"/>
                  <a:gd name="T25" fmla="*/ 768 h 1984"/>
                  <a:gd name="T26" fmla="*/ 1792 w 1984"/>
                  <a:gd name="T27" fmla="*/ 1792 h 1984"/>
                  <a:gd name="T28" fmla="*/ 1408 w 1984"/>
                  <a:gd name="T29" fmla="*/ 768 h 1984"/>
                  <a:gd name="T30" fmla="*/ 567 w 1984"/>
                  <a:gd name="T31" fmla="*/ 256 h 1984"/>
                  <a:gd name="T32" fmla="*/ 938 w 1984"/>
                  <a:gd name="T33" fmla="*/ 64 h 1984"/>
                  <a:gd name="T34" fmla="*/ 1334 w 1984"/>
                  <a:gd name="T35" fmla="*/ 256 h 1984"/>
                  <a:gd name="T36" fmla="*/ 1460 w 1984"/>
                  <a:gd name="T37" fmla="*/ 384 h 1984"/>
                  <a:gd name="T38" fmla="*/ 567 w 1984"/>
                  <a:gd name="T39" fmla="*/ 256 h 1984"/>
                  <a:gd name="T40" fmla="*/ 1344 w 1984"/>
                  <a:gd name="T41" fmla="*/ 1792 h 1984"/>
                  <a:gd name="T42" fmla="*/ 1280 w 1984"/>
                  <a:gd name="T43" fmla="*/ 1220 h 1984"/>
                  <a:gd name="T44" fmla="*/ 992 w 1984"/>
                  <a:gd name="T45" fmla="*/ 1023 h 1984"/>
                  <a:gd name="T46" fmla="*/ 704 w 1984"/>
                  <a:gd name="T47" fmla="*/ 1220 h 1984"/>
                  <a:gd name="T48" fmla="*/ 640 w 1984"/>
                  <a:gd name="T49" fmla="*/ 1792 h 1984"/>
                  <a:gd name="T50" fmla="*/ 1344 w 1984"/>
                  <a:gd name="T51" fmla="*/ 448 h 1984"/>
                  <a:gd name="T52" fmla="*/ 1024 w 1984"/>
                  <a:gd name="T53" fmla="*/ 1408 h 1984"/>
                  <a:gd name="T54" fmla="*/ 1216 w 1984"/>
                  <a:gd name="T55" fmla="*/ 1280 h 1984"/>
                  <a:gd name="T56" fmla="*/ 1216 w 1984"/>
                  <a:gd name="T57" fmla="*/ 1472 h 1984"/>
                  <a:gd name="T58" fmla="*/ 1024 w 1984"/>
                  <a:gd name="T59" fmla="*/ 1600 h 1984"/>
                  <a:gd name="T60" fmla="*/ 1216 w 1984"/>
                  <a:gd name="T61" fmla="*/ 1472 h 1984"/>
                  <a:gd name="T62" fmla="*/ 1024 w 1984"/>
                  <a:gd name="T63" fmla="*/ 1097 h 1984"/>
                  <a:gd name="T64" fmla="*/ 1216 w 1984"/>
                  <a:gd name="T65" fmla="*/ 1216 h 1984"/>
                  <a:gd name="T66" fmla="*/ 960 w 1984"/>
                  <a:gd name="T67" fmla="*/ 1216 h 1984"/>
                  <a:gd name="T68" fmla="*/ 841 w 1984"/>
                  <a:gd name="T69" fmla="*/ 1127 h 1984"/>
                  <a:gd name="T70" fmla="*/ 960 w 1984"/>
                  <a:gd name="T71" fmla="*/ 1216 h 1984"/>
                  <a:gd name="T72" fmla="*/ 960 w 1984"/>
                  <a:gd name="T73" fmla="*/ 1280 h 1984"/>
                  <a:gd name="T74" fmla="*/ 768 w 1984"/>
                  <a:gd name="T75" fmla="*/ 1408 h 1984"/>
                  <a:gd name="T76" fmla="*/ 768 w 1984"/>
                  <a:gd name="T77" fmla="*/ 1472 h 1984"/>
                  <a:gd name="T78" fmla="*/ 960 w 1984"/>
                  <a:gd name="T79" fmla="*/ 1600 h 1984"/>
                  <a:gd name="T80" fmla="*/ 768 w 1984"/>
                  <a:gd name="T81" fmla="*/ 1472 h 1984"/>
                  <a:gd name="T82" fmla="*/ 960 w 1984"/>
                  <a:gd name="T83" fmla="*/ 1664 h 1984"/>
                  <a:gd name="T84" fmla="*/ 768 w 1984"/>
                  <a:gd name="T85" fmla="*/ 1792 h 1984"/>
                  <a:gd name="T86" fmla="*/ 1024 w 1984"/>
                  <a:gd name="T87" fmla="*/ 1664 h 1984"/>
                  <a:gd name="T88" fmla="*/ 1216 w 1984"/>
                  <a:gd name="T89" fmla="*/ 1792 h 1984"/>
                  <a:gd name="T90" fmla="*/ 1024 w 1984"/>
                  <a:gd name="T91" fmla="*/ 1664 h 1984"/>
                  <a:gd name="T92" fmla="*/ 224 w 1984"/>
                  <a:gd name="T93" fmla="*/ 768 h 1984"/>
                  <a:gd name="T94" fmla="*/ 576 w 1984"/>
                  <a:gd name="T95" fmla="*/ 1792 h 1984"/>
                  <a:gd name="T96" fmla="*/ 192 w 1984"/>
                  <a:gd name="T97" fmla="*/ 800 h 1984"/>
                  <a:gd name="T98" fmla="*/ 64 w 1984"/>
                  <a:gd name="T99" fmla="*/ 1920 h 1984"/>
                  <a:gd name="T100" fmla="*/ 96 w 1984"/>
                  <a:gd name="T101" fmla="*/ 1856 h 1984"/>
                  <a:gd name="T102" fmla="*/ 1920 w 1984"/>
                  <a:gd name="T103" fmla="*/ 1888 h 19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984" h="1984">
                    <a:moveTo>
                      <a:pt x="1888" y="1792"/>
                    </a:moveTo>
                    <a:cubicBezTo>
                      <a:pt x="1856" y="1792"/>
                      <a:pt x="1856" y="1792"/>
                      <a:pt x="1856" y="1792"/>
                    </a:cubicBezTo>
                    <a:cubicBezTo>
                      <a:pt x="1856" y="800"/>
                      <a:pt x="1856" y="800"/>
                      <a:pt x="1856" y="800"/>
                    </a:cubicBezTo>
                    <a:cubicBezTo>
                      <a:pt x="1856" y="747"/>
                      <a:pt x="1813" y="704"/>
                      <a:pt x="1760" y="704"/>
                    </a:cubicBezTo>
                    <a:cubicBezTo>
                      <a:pt x="1408" y="704"/>
                      <a:pt x="1408" y="704"/>
                      <a:pt x="1408" y="704"/>
                    </a:cubicBezTo>
                    <a:cubicBezTo>
                      <a:pt x="1408" y="448"/>
                      <a:pt x="1408" y="448"/>
                      <a:pt x="1408" y="448"/>
                    </a:cubicBezTo>
                    <a:cubicBezTo>
                      <a:pt x="1548" y="448"/>
                      <a:pt x="1548" y="448"/>
                      <a:pt x="1548" y="448"/>
                    </a:cubicBezTo>
                    <a:cubicBezTo>
                      <a:pt x="1463" y="192"/>
                      <a:pt x="1463" y="192"/>
                      <a:pt x="1463" y="192"/>
                    </a:cubicBezTo>
                    <a:cubicBezTo>
                      <a:pt x="1354" y="192"/>
                      <a:pt x="1354" y="192"/>
                      <a:pt x="1354" y="192"/>
                    </a:cubicBezTo>
                    <a:cubicBezTo>
                      <a:pt x="1066" y="0"/>
                      <a:pt x="1066" y="0"/>
                      <a:pt x="1066" y="0"/>
                    </a:cubicBezTo>
                    <a:cubicBezTo>
                      <a:pt x="918" y="0"/>
                      <a:pt x="918" y="0"/>
                      <a:pt x="918" y="0"/>
                    </a:cubicBezTo>
                    <a:cubicBezTo>
                      <a:pt x="630" y="192"/>
                      <a:pt x="630" y="192"/>
                      <a:pt x="630" y="192"/>
                    </a:cubicBezTo>
                    <a:cubicBezTo>
                      <a:pt x="521" y="192"/>
                      <a:pt x="521" y="192"/>
                      <a:pt x="521" y="192"/>
                    </a:cubicBezTo>
                    <a:cubicBezTo>
                      <a:pt x="436" y="448"/>
                      <a:pt x="436" y="448"/>
                      <a:pt x="436" y="448"/>
                    </a:cubicBezTo>
                    <a:cubicBezTo>
                      <a:pt x="576" y="448"/>
                      <a:pt x="576" y="448"/>
                      <a:pt x="576" y="448"/>
                    </a:cubicBezTo>
                    <a:cubicBezTo>
                      <a:pt x="576" y="704"/>
                      <a:pt x="576" y="704"/>
                      <a:pt x="576" y="704"/>
                    </a:cubicBezTo>
                    <a:cubicBezTo>
                      <a:pt x="224" y="704"/>
                      <a:pt x="224" y="704"/>
                      <a:pt x="224" y="704"/>
                    </a:cubicBezTo>
                    <a:cubicBezTo>
                      <a:pt x="171" y="704"/>
                      <a:pt x="128" y="747"/>
                      <a:pt x="128" y="800"/>
                    </a:cubicBezTo>
                    <a:cubicBezTo>
                      <a:pt x="128" y="1792"/>
                      <a:pt x="128" y="1792"/>
                      <a:pt x="128" y="1792"/>
                    </a:cubicBezTo>
                    <a:cubicBezTo>
                      <a:pt x="96" y="1792"/>
                      <a:pt x="96" y="1792"/>
                      <a:pt x="96" y="1792"/>
                    </a:cubicBezTo>
                    <a:cubicBezTo>
                      <a:pt x="43" y="1792"/>
                      <a:pt x="0" y="1835"/>
                      <a:pt x="0" y="1888"/>
                    </a:cubicBezTo>
                    <a:cubicBezTo>
                      <a:pt x="0" y="1984"/>
                      <a:pt x="0" y="1984"/>
                      <a:pt x="0" y="1984"/>
                    </a:cubicBezTo>
                    <a:cubicBezTo>
                      <a:pt x="1984" y="1984"/>
                      <a:pt x="1984" y="1984"/>
                      <a:pt x="1984" y="1984"/>
                    </a:cubicBezTo>
                    <a:cubicBezTo>
                      <a:pt x="1984" y="1888"/>
                      <a:pt x="1984" y="1888"/>
                      <a:pt x="1984" y="1888"/>
                    </a:cubicBezTo>
                    <a:cubicBezTo>
                      <a:pt x="1984" y="1835"/>
                      <a:pt x="1941" y="1792"/>
                      <a:pt x="1888" y="1792"/>
                    </a:cubicBezTo>
                    <a:close/>
                    <a:moveTo>
                      <a:pt x="1760" y="768"/>
                    </a:moveTo>
                    <a:cubicBezTo>
                      <a:pt x="1778" y="768"/>
                      <a:pt x="1792" y="782"/>
                      <a:pt x="1792" y="800"/>
                    </a:cubicBezTo>
                    <a:cubicBezTo>
                      <a:pt x="1792" y="1792"/>
                      <a:pt x="1792" y="1792"/>
                      <a:pt x="1792" y="1792"/>
                    </a:cubicBezTo>
                    <a:cubicBezTo>
                      <a:pt x="1408" y="1792"/>
                      <a:pt x="1408" y="1792"/>
                      <a:pt x="1408" y="1792"/>
                    </a:cubicBezTo>
                    <a:cubicBezTo>
                      <a:pt x="1408" y="768"/>
                      <a:pt x="1408" y="768"/>
                      <a:pt x="1408" y="768"/>
                    </a:cubicBezTo>
                    <a:lnTo>
                      <a:pt x="1760" y="768"/>
                    </a:lnTo>
                    <a:close/>
                    <a:moveTo>
                      <a:pt x="567" y="256"/>
                    </a:moveTo>
                    <a:cubicBezTo>
                      <a:pt x="650" y="256"/>
                      <a:pt x="650" y="256"/>
                      <a:pt x="650" y="256"/>
                    </a:cubicBezTo>
                    <a:cubicBezTo>
                      <a:pt x="938" y="64"/>
                      <a:pt x="938" y="64"/>
                      <a:pt x="938" y="64"/>
                    </a:cubicBezTo>
                    <a:cubicBezTo>
                      <a:pt x="1046" y="64"/>
                      <a:pt x="1046" y="64"/>
                      <a:pt x="1046" y="64"/>
                    </a:cubicBezTo>
                    <a:cubicBezTo>
                      <a:pt x="1334" y="256"/>
                      <a:pt x="1334" y="256"/>
                      <a:pt x="1334" y="256"/>
                    </a:cubicBezTo>
                    <a:cubicBezTo>
                      <a:pt x="1417" y="256"/>
                      <a:pt x="1417" y="256"/>
                      <a:pt x="1417" y="256"/>
                    </a:cubicBezTo>
                    <a:cubicBezTo>
                      <a:pt x="1460" y="384"/>
                      <a:pt x="1460" y="384"/>
                      <a:pt x="1460" y="384"/>
                    </a:cubicBezTo>
                    <a:cubicBezTo>
                      <a:pt x="524" y="384"/>
                      <a:pt x="524" y="384"/>
                      <a:pt x="524" y="384"/>
                    </a:cubicBezTo>
                    <a:lnTo>
                      <a:pt x="567" y="256"/>
                    </a:lnTo>
                    <a:close/>
                    <a:moveTo>
                      <a:pt x="1344" y="448"/>
                    </a:moveTo>
                    <a:cubicBezTo>
                      <a:pt x="1344" y="1792"/>
                      <a:pt x="1344" y="1792"/>
                      <a:pt x="1344" y="1792"/>
                    </a:cubicBezTo>
                    <a:cubicBezTo>
                      <a:pt x="1280" y="1792"/>
                      <a:pt x="1280" y="1792"/>
                      <a:pt x="1280" y="1792"/>
                    </a:cubicBezTo>
                    <a:cubicBezTo>
                      <a:pt x="1280" y="1220"/>
                      <a:pt x="1280" y="1220"/>
                      <a:pt x="1280" y="1220"/>
                    </a:cubicBezTo>
                    <a:cubicBezTo>
                      <a:pt x="1280" y="1146"/>
                      <a:pt x="1230" y="1083"/>
                      <a:pt x="1159" y="1065"/>
                    </a:cubicBezTo>
                    <a:cubicBezTo>
                      <a:pt x="992" y="1023"/>
                      <a:pt x="992" y="1023"/>
                      <a:pt x="992" y="1023"/>
                    </a:cubicBezTo>
                    <a:cubicBezTo>
                      <a:pt x="825" y="1065"/>
                      <a:pt x="825" y="1065"/>
                      <a:pt x="825" y="1065"/>
                    </a:cubicBezTo>
                    <a:cubicBezTo>
                      <a:pt x="754" y="1083"/>
                      <a:pt x="704" y="1146"/>
                      <a:pt x="704" y="1220"/>
                    </a:cubicBezTo>
                    <a:cubicBezTo>
                      <a:pt x="704" y="1792"/>
                      <a:pt x="704" y="1792"/>
                      <a:pt x="704" y="1792"/>
                    </a:cubicBezTo>
                    <a:cubicBezTo>
                      <a:pt x="640" y="1792"/>
                      <a:pt x="640" y="1792"/>
                      <a:pt x="640" y="1792"/>
                    </a:cubicBezTo>
                    <a:cubicBezTo>
                      <a:pt x="640" y="448"/>
                      <a:pt x="640" y="448"/>
                      <a:pt x="640" y="448"/>
                    </a:cubicBezTo>
                    <a:lnTo>
                      <a:pt x="1344" y="448"/>
                    </a:lnTo>
                    <a:close/>
                    <a:moveTo>
                      <a:pt x="1216" y="1408"/>
                    </a:moveTo>
                    <a:cubicBezTo>
                      <a:pt x="1024" y="1408"/>
                      <a:pt x="1024" y="1408"/>
                      <a:pt x="1024" y="1408"/>
                    </a:cubicBezTo>
                    <a:cubicBezTo>
                      <a:pt x="1024" y="1280"/>
                      <a:pt x="1024" y="1280"/>
                      <a:pt x="1024" y="1280"/>
                    </a:cubicBezTo>
                    <a:cubicBezTo>
                      <a:pt x="1216" y="1280"/>
                      <a:pt x="1216" y="1280"/>
                      <a:pt x="1216" y="1280"/>
                    </a:cubicBezTo>
                    <a:lnTo>
                      <a:pt x="1216" y="1408"/>
                    </a:lnTo>
                    <a:close/>
                    <a:moveTo>
                      <a:pt x="1216" y="1472"/>
                    </a:moveTo>
                    <a:cubicBezTo>
                      <a:pt x="1216" y="1600"/>
                      <a:pt x="1216" y="1600"/>
                      <a:pt x="1216" y="1600"/>
                    </a:cubicBezTo>
                    <a:cubicBezTo>
                      <a:pt x="1024" y="1600"/>
                      <a:pt x="1024" y="1600"/>
                      <a:pt x="1024" y="1600"/>
                    </a:cubicBezTo>
                    <a:cubicBezTo>
                      <a:pt x="1024" y="1472"/>
                      <a:pt x="1024" y="1472"/>
                      <a:pt x="1024" y="1472"/>
                    </a:cubicBezTo>
                    <a:lnTo>
                      <a:pt x="1216" y="1472"/>
                    </a:lnTo>
                    <a:close/>
                    <a:moveTo>
                      <a:pt x="1024" y="1216"/>
                    </a:moveTo>
                    <a:cubicBezTo>
                      <a:pt x="1024" y="1097"/>
                      <a:pt x="1024" y="1097"/>
                      <a:pt x="1024" y="1097"/>
                    </a:cubicBezTo>
                    <a:cubicBezTo>
                      <a:pt x="1143" y="1127"/>
                      <a:pt x="1143" y="1127"/>
                      <a:pt x="1143" y="1127"/>
                    </a:cubicBezTo>
                    <a:cubicBezTo>
                      <a:pt x="1185" y="1137"/>
                      <a:pt x="1214" y="1174"/>
                      <a:pt x="1216" y="1216"/>
                    </a:cubicBezTo>
                    <a:lnTo>
                      <a:pt x="1024" y="1216"/>
                    </a:lnTo>
                    <a:close/>
                    <a:moveTo>
                      <a:pt x="960" y="1216"/>
                    </a:moveTo>
                    <a:cubicBezTo>
                      <a:pt x="768" y="1216"/>
                      <a:pt x="768" y="1216"/>
                      <a:pt x="768" y="1216"/>
                    </a:cubicBezTo>
                    <a:cubicBezTo>
                      <a:pt x="770" y="1174"/>
                      <a:pt x="799" y="1137"/>
                      <a:pt x="841" y="1127"/>
                    </a:cubicBezTo>
                    <a:cubicBezTo>
                      <a:pt x="960" y="1097"/>
                      <a:pt x="960" y="1097"/>
                      <a:pt x="960" y="1097"/>
                    </a:cubicBezTo>
                    <a:lnTo>
                      <a:pt x="960" y="1216"/>
                    </a:lnTo>
                    <a:close/>
                    <a:moveTo>
                      <a:pt x="768" y="1280"/>
                    </a:moveTo>
                    <a:cubicBezTo>
                      <a:pt x="960" y="1280"/>
                      <a:pt x="960" y="1280"/>
                      <a:pt x="960" y="1280"/>
                    </a:cubicBezTo>
                    <a:cubicBezTo>
                      <a:pt x="960" y="1408"/>
                      <a:pt x="960" y="1408"/>
                      <a:pt x="960" y="1408"/>
                    </a:cubicBezTo>
                    <a:cubicBezTo>
                      <a:pt x="768" y="1408"/>
                      <a:pt x="768" y="1408"/>
                      <a:pt x="768" y="1408"/>
                    </a:cubicBezTo>
                    <a:lnTo>
                      <a:pt x="768" y="1280"/>
                    </a:lnTo>
                    <a:close/>
                    <a:moveTo>
                      <a:pt x="768" y="1472"/>
                    </a:moveTo>
                    <a:cubicBezTo>
                      <a:pt x="960" y="1472"/>
                      <a:pt x="960" y="1472"/>
                      <a:pt x="960" y="1472"/>
                    </a:cubicBezTo>
                    <a:cubicBezTo>
                      <a:pt x="960" y="1600"/>
                      <a:pt x="960" y="1600"/>
                      <a:pt x="960" y="1600"/>
                    </a:cubicBezTo>
                    <a:cubicBezTo>
                      <a:pt x="768" y="1600"/>
                      <a:pt x="768" y="1600"/>
                      <a:pt x="768" y="1600"/>
                    </a:cubicBezTo>
                    <a:lnTo>
                      <a:pt x="768" y="1472"/>
                    </a:lnTo>
                    <a:close/>
                    <a:moveTo>
                      <a:pt x="768" y="1664"/>
                    </a:moveTo>
                    <a:cubicBezTo>
                      <a:pt x="960" y="1664"/>
                      <a:pt x="960" y="1664"/>
                      <a:pt x="960" y="1664"/>
                    </a:cubicBezTo>
                    <a:cubicBezTo>
                      <a:pt x="960" y="1792"/>
                      <a:pt x="960" y="1792"/>
                      <a:pt x="960" y="1792"/>
                    </a:cubicBezTo>
                    <a:cubicBezTo>
                      <a:pt x="768" y="1792"/>
                      <a:pt x="768" y="1792"/>
                      <a:pt x="768" y="1792"/>
                    </a:cubicBezTo>
                    <a:lnTo>
                      <a:pt x="768" y="1664"/>
                    </a:lnTo>
                    <a:close/>
                    <a:moveTo>
                      <a:pt x="1024" y="1664"/>
                    </a:moveTo>
                    <a:cubicBezTo>
                      <a:pt x="1216" y="1664"/>
                      <a:pt x="1216" y="1664"/>
                      <a:pt x="1216" y="1664"/>
                    </a:cubicBezTo>
                    <a:cubicBezTo>
                      <a:pt x="1216" y="1792"/>
                      <a:pt x="1216" y="1792"/>
                      <a:pt x="1216" y="1792"/>
                    </a:cubicBezTo>
                    <a:cubicBezTo>
                      <a:pt x="1024" y="1792"/>
                      <a:pt x="1024" y="1792"/>
                      <a:pt x="1024" y="1792"/>
                    </a:cubicBezTo>
                    <a:lnTo>
                      <a:pt x="1024" y="1664"/>
                    </a:lnTo>
                    <a:close/>
                    <a:moveTo>
                      <a:pt x="192" y="800"/>
                    </a:moveTo>
                    <a:cubicBezTo>
                      <a:pt x="192" y="782"/>
                      <a:pt x="206" y="768"/>
                      <a:pt x="224" y="768"/>
                    </a:cubicBezTo>
                    <a:cubicBezTo>
                      <a:pt x="576" y="768"/>
                      <a:pt x="576" y="768"/>
                      <a:pt x="576" y="768"/>
                    </a:cubicBezTo>
                    <a:cubicBezTo>
                      <a:pt x="576" y="1792"/>
                      <a:pt x="576" y="1792"/>
                      <a:pt x="576" y="1792"/>
                    </a:cubicBezTo>
                    <a:cubicBezTo>
                      <a:pt x="192" y="1792"/>
                      <a:pt x="192" y="1792"/>
                      <a:pt x="192" y="1792"/>
                    </a:cubicBezTo>
                    <a:lnTo>
                      <a:pt x="192" y="800"/>
                    </a:lnTo>
                    <a:close/>
                    <a:moveTo>
                      <a:pt x="1920" y="1920"/>
                    </a:moveTo>
                    <a:cubicBezTo>
                      <a:pt x="64" y="1920"/>
                      <a:pt x="64" y="1920"/>
                      <a:pt x="64" y="1920"/>
                    </a:cubicBezTo>
                    <a:cubicBezTo>
                      <a:pt x="64" y="1888"/>
                      <a:pt x="64" y="1888"/>
                      <a:pt x="64" y="1888"/>
                    </a:cubicBezTo>
                    <a:cubicBezTo>
                      <a:pt x="64" y="1870"/>
                      <a:pt x="78" y="1856"/>
                      <a:pt x="96" y="1856"/>
                    </a:cubicBezTo>
                    <a:cubicBezTo>
                      <a:pt x="1888" y="1856"/>
                      <a:pt x="1888" y="1856"/>
                      <a:pt x="1888" y="1856"/>
                    </a:cubicBezTo>
                    <a:cubicBezTo>
                      <a:pt x="1906" y="1856"/>
                      <a:pt x="1920" y="1870"/>
                      <a:pt x="1920" y="1888"/>
                    </a:cubicBezTo>
                    <a:lnTo>
                      <a:pt x="1920" y="19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54" name="Freeform 17">
                <a:extLst>
                  <a:ext uri="{FF2B5EF4-FFF2-40B4-BE49-F238E27FC236}">
                    <a16:creationId xmlns:a16="http://schemas.microsoft.com/office/drawing/2014/main" id="{96C3CC8D-56BC-91AA-1064-FBFF592E69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2788" y="3724275"/>
                <a:ext cx="53975" cy="128588"/>
              </a:xfrm>
              <a:custGeom>
                <a:avLst/>
                <a:gdLst>
                  <a:gd name="T0" fmla="*/ 96 w 192"/>
                  <a:gd name="T1" fmla="*/ 320 h 448"/>
                  <a:gd name="T2" fmla="*/ 64 w 192"/>
                  <a:gd name="T3" fmla="*/ 288 h 448"/>
                  <a:gd name="T4" fmla="*/ 0 w 192"/>
                  <a:gd name="T5" fmla="*/ 288 h 448"/>
                  <a:gd name="T6" fmla="*/ 64 w 192"/>
                  <a:gd name="T7" fmla="*/ 378 h 448"/>
                  <a:gd name="T8" fmla="*/ 64 w 192"/>
                  <a:gd name="T9" fmla="*/ 448 h 448"/>
                  <a:gd name="T10" fmla="*/ 128 w 192"/>
                  <a:gd name="T11" fmla="*/ 448 h 448"/>
                  <a:gd name="T12" fmla="*/ 128 w 192"/>
                  <a:gd name="T13" fmla="*/ 384 h 448"/>
                  <a:gd name="T14" fmla="*/ 192 w 192"/>
                  <a:gd name="T15" fmla="*/ 384 h 448"/>
                  <a:gd name="T16" fmla="*/ 192 w 192"/>
                  <a:gd name="T17" fmla="*/ 288 h 448"/>
                  <a:gd name="T18" fmla="*/ 96 w 192"/>
                  <a:gd name="T19" fmla="*/ 192 h 448"/>
                  <a:gd name="T20" fmla="*/ 64 w 192"/>
                  <a:gd name="T21" fmla="*/ 160 h 448"/>
                  <a:gd name="T22" fmla="*/ 64 w 192"/>
                  <a:gd name="T23" fmla="*/ 128 h 448"/>
                  <a:gd name="T24" fmla="*/ 96 w 192"/>
                  <a:gd name="T25" fmla="*/ 128 h 448"/>
                  <a:gd name="T26" fmla="*/ 128 w 192"/>
                  <a:gd name="T27" fmla="*/ 160 h 448"/>
                  <a:gd name="T28" fmla="*/ 192 w 192"/>
                  <a:gd name="T29" fmla="*/ 160 h 448"/>
                  <a:gd name="T30" fmla="*/ 128 w 192"/>
                  <a:gd name="T31" fmla="*/ 70 h 448"/>
                  <a:gd name="T32" fmla="*/ 128 w 192"/>
                  <a:gd name="T33" fmla="*/ 0 h 448"/>
                  <a:gd name="T34" fmla="*/ 64 w 192"/>
                  <a:gd name="T35" fmla="*/ 0 h 448"/>
                  <a:gd name="T36" fmla="*/ 64 w 192"/>
                  <a:gd name="T37" fmla="*/ 64 h 448"/>
                  <a:gd name="T38" fmla="*/ 0 w 192"/>
                  <a:gd name="T39" fmla="*/ 64 h 448"/>
                  <a:gd name="T40" fmla="*/ 0 w 192"/>
                  <a:gd name="T41" fmla="*/ 160 h 448"/>
                  <a:gd name="T42" fmla="*/ 96 w 192"/>
                  <a:gd name="T43" fmla="*/ 256 h 448"/>
                  <a:gd name="T44" fmla="*/ 128 w 192"/>
                  <a:gd name="T45" fmla="*/ 288 h 448"/>
                  <a:gd name="T46" fmla="*/ 128 w 192"/>
                  <a:gd name="T47" fmla="*/ 320 h 448"/>
                  <a:gd name="T48" fmla="*/ 96 w 192"/>
                  <a:gd name="T49" fmla="*/ 320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2" h="448">
                    <a:moveTo>
                      <a:pt x="96" y="320"/>
                    </a:moveTo>
                    <a:cubicBezTo>
                      <a:pt x="78" y="320"/>
                      <a:pt x="64" y="306"/>
                      <a:pt x="64" y="288"/>
                    </a:cubicBezTo>
                    <a:cubicBezTo>
                      <a:pt x="0" y="288"/>
                      <a:pt x="0" y="288"/>
                      <a:pt x="0" y="288"/>
                    </a:cubicBezTo>
                    <a:cubicBezTo>
                      <a:pt x="0" y="330"/>
                      <a:pt x="27" y="365"/>
                      <a:pt x="64" y="378"/>
                    </a:cubicBezTo>
                    <a:cubicBezTo>
                      <a:pt x="64" y="448"/>
                      <a:pt x="64" y="448"/>
                      <a:pt x="64" y="448"/>
                    </a:cubicBezTo>
                    <a:cubicBezTo>
                      <a:pt x="128" y="448"/>
                      <a:pt x="128" y="448"/>
                      <a:pt x="128" y="448"/>
                    </a:cubicBezTo>
                    <a:cubicBezTo>
                      <a:pt x="128" y="384"/>
                      <a:pt x="128" y="384"/>
                      <a:pt x="128" y="384"/>
                    </a:cubicBezTo>
                    <a:cubicBezTo>
                      <a:pt x="192" y="384"/>
                      <a:pt x="192" y="384"/>
                      <a:pt x="192" y="384"/>
                    </a:cubicBezTo>
                    <a:cubicBezTo>
                      <a:pt x="192" y="288"/>
                      <a:pt x="192" y="288"/>
                      <a:pt x="192" y="288"/>
                    </a:cubicBezTo>
                    <a:cubicBezTo>
                      <a:pt x="192" y="235"/>
                      <a:pt x="149" y="192"/>
                      <a:pt x="96" y="192"/>
                    </a:cubicBezTo>
                    <a:cubicBezTo>
                      <a:pt x="78" y="192"/>
                      <a:pt x="64" y="178"/>
                      <a:pt x="64" y="160"/>
                    </a:cubicBezTo>
                    <a:cubicBezTo>
                      <a:pt x="64" y="128"/>
                      <a:pt x="64" y="128"/>
                      <a:pt x="64" y="128"/>
                    </a:cubicBezTo>
                    <a:cubicBezTo>
                      <a:pt x="96" y="128"/>
                      <a:pt x="96" y="128"/>
                      <a:pt x="96" y="128"/>
                    </a:cubicBezTo>
                    <a:cubicBezTo>
                      <a:pt x="114" y="128"/>
                      <a:pt x="128" y="142"/>
                      <a:pt x="128" y="160"/>
                    </a:cubicBezTo>
                    <a:cubicBezTo>
                      <a:pt x="192" y="160"/>
                      <a:pt x="192" y="160"/>
                      <a:pt x="192" y="160"/>
                    </a:cubicBezTo>
                    <a:cubicBezTo>
                      <a:pt x="192" y="118"/>
                      <a:pt x="165" y="83"/>
                      <a:pt x="128" y="7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213"/>
                      <a:pt x="43" y="256"/>
                      <a:pt x="96" y="256"/>
                    </a:cubicBezTo>
                    <a:cubicBezTo>
                      <a:pt x="114" y="256"/>
                      <a:pt x="128" y="270"/>
                      <a:pt x="128" y="288"/>
                    </a:cubicBezTo>
                    <a:cubicBezTo>
                      <a:pt x="128" y="320"/>
                      <a:pt x="128" y="320"/>
                      <a:pt x="128" y="320"/>
                    </a:cubicBezTo>
                    <a:lnTo>
                      <a:pt x="96" y="3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55" name="Freeform 18">
                <a:extLst>
                  <a:ext uri="{FF2B5EF4-FFF2-40B4-BE49-F238E27FC236}">
                    <a16:creationId xmlns:a16="http://schemas.microsoft.com/office/drawing/2014/main" id="{968FDE31-247B-718A-260E-52199F62E1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87888" y="4000500"/>
                <a:ext cx="73025" cy="73025"/>
              </a:xfrm>
              <a:custGeom>
                <a:avLst/>
                <a:gdLst>
                  <a:gd name="T0" fmla="*/ 46 w 46"/>
                  <a:gd name="T1" fmla="*/ 46 h 46"/>
                  <a:gd name="T2" fmla="*/ 46 w 46"/>
                  <a:gd name="T3" fmla="*/ 0 h 46"/>
                  <a:gd name="T4" fmla="*/ 0 w 46"/>
                  <a:gd name="T5" fmla="*/ 0 h 46"/>
                  <a:gd name="T6" fmla="*/ 0 w 46"/>
                  <a:gd name="T7" fmla="*/ 46 h 46"/>
                  <a:gd name="T8" fmla="*/ 46 w 46"/>
                  <a:gd name="T9" fmla="*/ 46 h 46"/>
                  <a:gd name="T10" fmla="*/ 11 w 46"/>
                  <a:gd name="T11" fmla="*/ 11 h 46"/>
                  <a:gd name="T12" fmla="*/ 34 w 46"/>
                  <a:gd name="T13" fmla="*/ 11 h 46"/>
                  <a:gd name="T14" fmla="*/ 34 w 46"/>
                  <a:gd name="T15" fmla="*/ 34 h 46"/>
                  <a:gd name="T16" fmla="*/ 11 w 46"/>
                  <a:gd name="T17" fmla="*/ 34 h 46"/>
                  <a:gd name="T18" fmla="*/ 11 w 46"/>
                  <a:gd name="T19" fmla="*/ 1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46" y="46"/>
                    </a:moveTo>
                    <a:lnTo>
                      <a:pt x="46" y="0"/>
                    </a:lnTo>
                    <a:lnTo>
                      <a:pt x="0" y="0"/>
                    </a:lnTo>
                    <a:lnTo>
                      <a:pt x="0" y="46"/>
                    </a:lnTo>
                    <a:lnTo>
                      <a:pt x="46" y="46"/>
                    </a:lnTo>
                    <a:close/>
                    <a:moveTo>
                      <a:pt x="11" y="11"/>
                    </a:moveTo>
                    <a:lnTo>
                      <a:pt x="34" y="11"/>
                    </a:lnTo>
                    <a:lnTo>
                      <a:pt x="34" y="34"/>
                    </a:lnTo>
                    <a:lnTo>
                      <a:pt x="11" y="34"/>
                    </a:lnTo>
                    <a:lnTo>
                      <a:pt x="11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56" name="Freeform 19">
                <a:extLst>
                  <a:ext uri="{FF2B5EF4-FFF2-40B4-BE49-F238E27FC236}">
                    <a16:creationId xmlns:a16="http://schemas.microsoft.com/office/drawing/2014/main" id="{8E225C1F-F32D-DD12-6CA7-7E6417FE8F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87888" y="3908425"/>
                <a:ext cx="73025" cy="73025"/>
              </a:xfrm>
              <a:custGeom>
                <a:avLst/>
                <a:gdLst>
                  <a:gd name="T0" fmla="*/ 46 w 46"/>
                  <a:gd name="T1" fmla="*/ 0 h 46"/>
                  <a:gd name="T2" fmla="*/ 0 w 46"/>
                  <a:gd name="T3" fmla="*/ 0 h 46"/>
                  <a:gd name="T4" fmla="*/ 0 w 46"/>
                  <a:gd name="T5" fmla="*/ 46 h 46"/>
                  <a:gd name="T6" fmla="*/ 46 w 46"/>
                  <a:gd name="T7" fmla="*/ 46 h 46"/>
                  <a:gd name="T8" fmla="*/ 46 w 46"/>
                  <a:gd name="T9" fmla="*/ 0 h 46"/>
                  <a:gd name="T10" fmla="*/ 34 w 46"/>
                  <a:gd name="T11" fmla="*/ 34 h 46"/>
                  <a:gd name="T12" fmla="*/ 11 w 46"/>
                  <a:gd name="T13" fmla="*/ 34 h 46"/>
                  <a:gd name="T14" fmla="*/ 11 w 46"/>
                  <a:gd name="T15" fmla="*/ 11 h 46"/>
                  <a:gd name="T16" fmla="*/ 34 w 46"/>
                  <a:gd name="T17" fmla="*/ 11 h 46"/>
                  <a:gd name="T18" fmla="*/ 34 w 46"/>
                  <a:gd name="T1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46" y="0"/>
                    </a:moveTo>
                    <a:lnTo>
                      <a:pt x="0" y="0"/>
                    </a:lnTo>
                    <a:lnTo>
                      <a:pt x="0" y="46"/>
                    </a:lnTo>
                    <a:lnTo>
                      <a:pt x="46" y="46"/>
                    </a:lnTo>
                    <a:lnTo>
                      <a:pt x="46" y="0"/>
                    </a:lnTo>
                    <a:close/>
                    <a:moveTo>
                      <a:pt x="34" y="34"/>
                    </a:moveTo>
                    <a:lnTo>
                      <a:pt x="11" y="34"/>
                    </a:lnTo>
                    <a:lnTo>
                      <a:pt x="11" y="11"/>
                    </a:lnTo>
                    <a:lnTo>
                      <a:pt x="34" y="11"/>
                    </a:lnTo>
                    <a:lnTo>
                      <a:pt x="3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57" name="Freeform 20">
                <a:extLst>
                  <a:ext uri="{FF2B5EF4-FFF2-40B4-BE49-F238E27FC236}">
                    <a16:creationId xmlns:a16="http://schemas.microsoft.com/office/drawing/2014/main" id="{4DE33F2E-F0E2-AD58-83E1-57E6ED8D5B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87888" y="3816350"/>
                <a:ext cx="73025" cy="73025"/>
              </a:xfrm>
              <a:custGeom>
                <a:avLst/>
                <a:gdLst>
                  <a:gd name="T0" fmla="*/ 46 w 46"/>
                  <a:gd name="T1" fmla="*/ 0 h 46"/>
                  <a:gd name="T2" fmla="*/ 0 w 46"/>
                  <a:gd name="T3" fmla="*/ 0 h 46"/>
                  <a:gd name="T4" fmla="*/ 0 w 46"/>
                  <a:gd name="T5" fmla="*/ 46 h 46"/>
                  <a:gd name="T6" fmla="*/ 46 w 46"/>
                  <a:gd name="T7" fmla="*/ 46 h 46"/>
                  <a:gd name="T8" fmla="*/ 46 w 46"/>
                  <a:gd name="T9" fmla="*/ 0 h 46"/>
                  <a:gd name="T10" fmla="*/ 34 w 46"/>
                  <a:gd name="T11" fmla="*/ 35 h 46"/>
                  <a:gd name="T12" fmla="*/ 11 w 46"/>
                  <a:gd name="T13" fmla="*/ 35 h 46"/>
                  <a:gd name="T14" fmla="*/ 11 w 46"/>
                  <a:gd name="T15" fmla="*/ 12 h 46"/>
                  <a:gd name="T16" fmla="*/ 34 w 46"/>
                  <a:gd name="T17" fmla="*/ 12 h 46"/>
                  <a:gd name="T18" fmla="*/ 34 w 46"/>
                  <a:gd name="T19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46" y="0"/>
                    </a:moveTo>
                    <a:lnTo>
                      <a:pt x="0" y="0"/>
                    </a:lnTo>
                    <a:lnTo>
                      <a:pt x="0" y="46"/>
                    </a:lnTo>
                    <a:lnTo>
                      <a:pt x="46" y="46"/>
                    </a:lnTo>
                    <a:lnTo>
                      <a:pt x="46" y="0"/>
                    </a:lnTo>
                    <a:close/>
                    <a:moveTo>
                      <a:pt x="34" y="35"/>
                    </a:moveTo>
                    <a:lnTo>
                      <a:pt x="11" y="35"/>
                    </a:lnTo>
                    <a:lnTo>
                      <a:pt x="11" y="12"/>
                    </a:lnTo>
                    <a:lnTo>
                      <a:pt x="34" y="12"/>
                    </a:lnTo>
                    <a:lnTo>
                      <a:pt x="34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58" name="Freeform 21">
                <a:extLst>
                  <a:ext uri="{FF2B5EF4-FFF2-40B4-BE49-F238E27FC236}">
                    <a16:creationId xmlns:a16="http://schemas.microsoft.com/office/drawing/2014/main" id="{532FCDF3-1E43-BA85-65ED-0D10DBDD1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8638" y="4000500"/>
                <a:ext cx="73025" cy="73025"/>
              </a:xfrm>
              <a:custGeom>
                <a:avLst/>
                <a:gdLst>
                  <a:gd name="T0" fmla="*/ 0 w 46"/>
                  <a:gd name="T1" fmla="*/ 46 h 46"/>
                  <a:gd name="T2" fmla="*/ 46 w 46"/>
                  <a:gd name="T3" fmla="*/ 46 h 46"/>
                  <a:gd name="T4" fmla="*/ 46 w 46"/>
                  <a:gd name="T5" fmla="*/ 0 h 46"/>
                  <a:gd name="T6" fmla="*/ 0 w 46"/>
                  <a:gd name="T7" fmla="*/ 0 h 46"/>
                  <a:gd name="T8" fmla="*/ 0 w 46"/>
                  <a:gd name="T9" fmla="*/ 46 h 46"/>
                  <a:gd name="T10" fmla="*/ 12 w 46"/>
                  <a:gd name="T11" fmla="*/ 11 h 46"/>
                  <a:gd name="T12" fmla="*/ 35 w 46"/>
                  <a:gd name="T13" fmla="*/ 11 h 46"/>
                  <a:gd name="T14" fmla="*/ 35 w 46"/>
                  <a:gd name="T15" fmla="*/ 34 h 46"/>
                  <a:gd name="T16" fmla="*/ 12 w 46"/>
                  <a:gd name="T17" fmla="*/ 34 h 46"/>
                  <a:gd name="T18" fmla="*/ 12 w 46"/>
                  <a:gd name="T19" fmla="*/ 1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0" y="46"/>
                    </a:moveTo>
                    <a:lnTo>
                      <a:pt x="46" y="46"/>
                    </a:lnTo>
                    <a:lnTo>
                      <a:pt x="46" y="0"/>
                    </a:lnTo>
                    <a:lnTo>
                      <a:pt x="0" y="0"/>
                    </a:lnTo>
                    <a:lnTo>
                      <a:pt x="0" y="46"/>
                    </a:lnTo>
                    <a:close/>
                    <a:moveTo>
                      <a:pt x="12" y="11"/>
                    </a:moveTo>
                    <a:lnTo>
                      <a:pt x="35" y="11"/>
                    </a:lnTo>
                    <a:lnTo>
                      <a:pt x="35" y="34"/>
                    </a:lnTo>
                    <a:lnTo>
                      <a:pt x="12" y="34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59" name="Freeform 22">
                <a:extLst>
                  <a:ext uri="{FF2B5EF4-FFF2-40B4-BE49-F238E27FC236}">
                    <a16:creationId xmlns:a16="http://schemas.microsoft.com/office/drawing/2014/main" id="{DAEE67AC-0109-72FF-2421-E38F5697F0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8638" y="3908425"/>
                <a:ext cx="73025" cy="73025"/>
              </a:xfrm>
              <a:custGeom>
                <a:avLst/>
                <a:gdLst>
                  <a:gd name="T0" fmla="*/ 0 w 46"/>
                  <a:gd name="T1" fmla="*/ 46 h 46"/>
                  <a:gd name="T2" fmla="*/ 46 w 46"/>
                  <a:gd name="T3" fmla="*/ 46 h 46"/>
                  <a:gd name="T4" fmla="*/ 46 w 46"/>
                  <a:gd name="T5" fmla="*/ 0 h 46"/>
                  <a:gd name="T6" fmla="*/ 0 w 46"/>
                  <a:gd name="T7" fmla="*/ 0 h 46"/>
                  <a:gd name="T8" fmla="*/ 0 w 46"/>
                  <a:gd name="T9" fmla="*/ 46 h 46"/>
                  <a:gd name="T10" fmla="*/ 12 w 46"/>
                  <a:gd name="T11" fmla="*/ 11 h 46"/>
                  <a:gd name="T12" fmla="*/ 35 w 46"/>
                  <a:gd name="T13" fmla="*/ 11 h 46"/>
                  <a:gd name="T14" fmla="*/ 35 w 46"/>
                  <a:gd name="T15" fmla="*/ 34 h 46"/>
                  <a:gd name="T16" fmla="*/ 12 w 46"/>
                  <a:gd name="T17" fmla="*/ 34 h 46"/>
                  <a:gd name="T18" fmla="*/ 12 w 46"/>
                  <a:gd name="T19" fmla="*/ 1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0" y="46"/>
                    </a:moveTo>
                    <a:lnTo>
                      <a:pt x="46" y="46"/>
                    </a:lnTo>
                    <a:lnTo>
                      <a:pt x="46" y="0"/>
                    </a:lnTo>
                    <a:lnTo>
                      <a:pt x="0" y="0"/>
                    </a:lnTo>
                    <a:lnTo>
                      <a:pt x="0" y="46"/>
                    </a:lnTo>
                    <a:close/>
                    <a:moveTo>
                      <a:pt x="12" y="11"/>
                    </a:moveTo>
                    <a:lnTo>
                      <a:pt x="35" y="11"/>
                    </a:lnTo>
                    <a:lnTo>
                      <a:pt x="35" y="34"/>
                    </a:lnTo>
                    <a:lnTo>
                      <a:pt x="12" y="34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60" name="Freeform 23">
                <a:extLst>
                  <a:ext uri="{FF2B5EF4-FFF2-40B4-BE49-F238E27FC236}">
                    <a16:creationId xmlns:a16="http://schemas.microsoft.com/office/drawing/2014/main" id="{E9A42A61-2A32-8995-5ABE-E6131FD9EE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8638" y="3816350"/>
                <a:ext cx="73025" cy="73025"/>
              </a:xfrm>
              <a:custGeom>
                <a:avLst/>
                <a:gdLst>
                  <a:gd name="T0" fmla="*/ 0 w 46"/>
                  <a:gd name="T1" fmla="*/ 0 h 46"/>
                  <a:gd name="T2" fmla="*/ 0 w 46"/>
                  <a:gd name="T3" fmla="*/ 46 h 46"/>
                  <a:gd name="T4" fmla="*/ 46 w 46"/>
                  <a:gd name="T5" fmla="*/ 46 h 46"/>
                  <a:gd name="T6" fmla="*/ 46 w 46"/>
                  <a:gd name="T7" fmla="*/ 0 h 46"/>
                  <a:gd name="T8" fmla="*/ 0 w 46"/>
                  <a:gd name="T9" fmla="*/ 0 h 46"/>
                  <a:gd name="T10" fmla="*/ 35 w 46"/>
                  <a:gd name="T11" fmla="*/ 35 h 46"/>
                  <a:gd name="T12" fmla="*/ 12 w 46"/>
                  <a:gd name="T13" fmla="*/ 35 h 46"/>
                  <a:gd name="T14" fmla="*/ 12 w 46"/>
                  <a:gd name="T15" fmla="*/ 12 h 46"/>
                  <a:gd name="T16" fmla="*/ 35 w 46"/>
                  <a:gd name="T17" fmla="*/ 12 h 46"/>
                  <a:gd name="T18" fmla="*/ 35 w 46"/>
                  <a:gd name="T19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0" y="0"/>
                    </a:moveTo>
                    <a:lnTo>
                      <a:pt x="0" y="46"/>
                    </a:lnTo>
                    <a:lnTo>
                      <a:pt x="46" y="46"/>
                    </a:lnTo>
                    <a:lnTo>
                      <a:pt x="46" y="0"/>
                    </a:lnTo>
                    <a:lnTo>
                      <a:pt x="0" y="0"/>
                    </a:lnTo>
                    <a:close/>
                    <a:moveTo>
                      <a:pt x="35" y="35"/>
                    </a:moveTo>
                    <a:lnTo>
                      <a:pt x="12" y="35"/>
                    </a:lnTo>
                    <a:lnTo>
                      <a:pt x="12" y="12"/>
                    </a:lnTo>
                    <a:lnTo>
                      <a:pt x="35" y="12"/>
                    </a:lnTo>
                    <a:lnTo>
                      <a:pt x="3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61" name="Rectangle 24">
                <a:extLst>
                  <a:ext uri="{FF2B5EF4-FFF2-40B4-BE49-F238E27FC236}">
                    <a16:creationId xmlns:a16="http://schemas.microsoft.com/office/drawing/2014/main" id="{F82B0517-1DF7-F217-2864-4ABD6B3FA2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5813" y="3779838"/>
                <a:ext cx="19050" cy="174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62" name="Rectangle 25">
                <a:extLst>
                  <a:ext uri="{FF2B5EF4-FFF2-40B4-BE49-F238E27FC236}">
                    <a16:creationId xmlns:a16="http://schemas.microsoft.com/office/drawing/2014/main" id="{E7FC77D2-28E4-7464-29B4-F30B7A881B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86276" y="3779838"/>
                <a:ext cx="17463" cy="174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</p:grpSp>
        <p:sp>
          <p:nvSpPr>
            <p:cNvPr id="538" name="TextBox 537">
              <a:extLst>
                <a:ext uri="{FF2B5EF4-FFF2-40B4-BE49-F238E27FC236}">
                  <a16:creationId xmlns:a16="http://schemas.microsoft.com/office/drawing/2014/main" id="{14B05068-F768-CC38-05DA-8D79CB9D27FC}"/>
                </a:ext>
              </a:extLst>
            </p:cNvPr>
            <p:cNvSpPr txBox="1"/>
            <p:nvPr/>
          </p:nvSpPr>
          <p:spPr>
            <a:xfrm>
              <a:off x="3525799" y="5575353"/>
              <a:ext cx="86993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pt-BR" altLang="zh-CN" sz="1100" b="1" kern="0" dirty="0">
                  <a:solidFill>
                    <a:schemeClr val="tx1">
                      <a:lumMod val="100000"/>
                    </a:schemeClr>
                  </a:solidFill>
                  <a:cs typeface="Calibri" panose="020F0502020204030204" pitchFamily="34" charset="0"/>
                </a:rPr>
                <a:t>PSP Pagador</a:t>
              </a:r>
            </a:p>
          </p:txBody>
        </p:sp>
        <p:cxnSp>
          <p:nvCxnSpPr>
            <p:cNvPr id="539" name="Connector: Elbow 538">
              <a:extLst>
                <a:ext uri="{FF2B5EF4-FFF2-40B4-BE49-F238E27FC236}">
                  <a16:creationId xmlns:a16="http://schemas.microsoft.com/office/drawing/2014/main" id="{1BB40A48-A8F5-6135-59AF-9234CA6E24CB}"/>
                </a:ext>
              </a:extLst>
            </p:cNvPr>
            <p:cNvCxnSpPr>
              <a:cxnSpLocks/>
              <a:stCxn id="551" idx="0"/>
              <a:endCxn id="569" idx="0"/>
            </p:cNvCxnSpPr>
            <p:nvPr/>
          </p:nvCxnSpPr>
          <p:spPr>
            <a:xfrm rot="16200000" flipV="1">
              <a:off x="2325166" y="3440078"/>
              <a:ext cx="12700" cy="3271196"/>
            </a:xfrm>
            <a:prstGeom prst="bentConnector3">
              <a:avLst>
                <a:gd name="adj1" fmla="val 1800000"/>
              </a:avLst>
            </a:prstGeom>
            <a:ln w="9525">
              <a:solidFill>
                <a:schemeClr val="tx1"/>
              </a:solidFill>
              <a:prstDash val="solid"/>
              <a:headEnd type="triangl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0" name="TextBox 539">
              <a:extLst>
                <a:ext uri="{FF2B5EF4-FFF2-40B4-BE49-F238E27FC236}">
                  <a16:creationId xmlns:a16="http://schemas.microsoft.com/office/drawing/2014/main" id="{30B2CB42-4C31-E0BC-681B-E193EAEA6C76}"/>
                </a:ext>
              </a:extLst>
            </p:cNvPr>
            <p:cNvSpPr txBox="1"/>
            <p:nvPr/>
          </p:nvSpPr>
          <p:spPr>
            <a:xfrm>
              <a:off x="1317891" y="4686233"/>
              <a:ext cx="222176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Envio de dados do pagamento via OPF</a:t>
              </a:r>
            </a:p>
          </p:txBody>
        </p:sp>
        <p:cxnSp>
          <p:nvCxnSpPr>
            <p:cNvPr id="541" name="Straight Arrow Connector 540">
              <a:extLst>
                <a:ext uri="{FF2B5EF4-FFF2-40B4-BE49-F238E27FC236}">
                  <a16:creationId xmlns:a16="http://schemas.microsoft.com/office/drawing/2014/main" id="{188EBCE0-DA9C-606C-07BB-985EAAA07F39}"/>
                </a:ext>
              </a:extLst>
            </p:cNvPr>
            <p:cNvCxnSpPr>
              <a:cxnSpLocks/>
              <a:stCxn id="563" idx="2"/>
              <a:endCxn id="569" idx="6"/>
            </p:cNvCxnSpPr>
            <p:nvPr/>
          </p:nvCxnSpPr>
          <p:spPr>
            <a:xfrm flipH="1">
              <a:off x="926743" y="5312851"/>
              <a:ext cx="1161146" cy="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2" name="TextBox 541">
              <a:extLst>
                <a:ext uri="{FF2B5EF4-FFF2-40B4-BE49-F238E27FC236}">
                  <a16:creationId xmlns:a16="http://schemas.microsoft.com/office/drawing/2014/main" id="{75593D96-9040-084C-1CC0-9727C4ED9C5C}"/>
                </a:ext>
              </a:extLst>
            </p:cNvPr>
            <p:cNvSpPr txBox="1"/>
            <p:nvPr/>
          </p:nvSpPr>
          <p:spPr>
            <a:xfrm>
              <a:off x="267917" y="5585918"/>
              <a:ext cx="843302" cy="166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pt-BR" altLang="zh-CN" sz="1100" b="1" kern="0" dirty="0">
                  <a:solidFill>
                    <a:schemeClr val="tx1">
                      <a:lumMod val="100000"/>
                    </a:schemeClr>
                  </a:solidFill>
                  <a:cs typeface="Calibri" panose="020F0502020204030204" pitchFamily="34" charset="0"/>
                </a:rPr>
                <a:t>ITP</a:t>
              </a:r>
            </a:p>
          </p:txBody>
        </p:sp>
        <p:sp>
          <p:nvSpPr>
            <p:cNvPr id="549" name="TextBox 548">
              <a:extLst>
                <a:ext uri="{FF2B5EF4-FFF2-40B4-BE49-F238E27FC236}">
                  <a16:creationId xmlns:a16="http://schemas.microsoft.com/office/drawing/2014/main" id="{88ED3D64-9C14-8C1E-4498-B20F0638CFE2}"/>
                </a:ext>
              </a:extLst>
            </p:cNvPr>
            <p:cNvSpPr txBox="1">
              <a:spLocks/>
            </p:cNvSpPr>
            <p:nvPr/>
          </p:nvSpPr>
          <p:spPr>
            <a:xfrm>
              <a:off x="1046146" y="5000786"/>
              <a:ext cx="99022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Dá o consentimento</a:t>
              </a:r>
            </a:p>
          </p:txBody>
        </p:sp>
        <p:sp>
          <p:nvSpPr>
            <p:cNvPr id="550" name="Oval 549">
              <a:extLst>
                <a:ext uri="{FF2B5EF4-FFF2-40B4-BE49-F238E27FC236}">
                  <a16:creationId xmlns:a16="http://schemas.microsoft.com/office/drawing/2014/main" id="{D39FE7D1-EB52-8F71-F4D2-D3CBE8C2D98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5719" y="4993702"/>
              <a:ext cx="147942" cy="147942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pt-BR" sz="1000" b="1" kern="0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544" name="Oval 543">
              <a:extLst>
                <a:ext uri="{FF2B5EF4-FFF2-40B4-BE49-F238E27FC236}">
                  <a16:creationId xmlns:a16="http://schemas.microsoft.com/office/drawing/2014/main" id="{B082E75B-A6BE-6982-3DF6-73430E3CA7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5495" y="4693148"/>
              <a:ext cx="147942" cy="147942"/>
            </a:xfrm>
            <a:prstGeom prst="ellipse">
              <a:avLst/>
            </a:prstGeom>
            <a:solidFill>
              <a:srgbClr val="49C1E0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pt-BR" sz="1000" b="1" kern="0" dirty="0">
                  <a:solidFill>
                    <a:schemeClr val="bg1"/>
                  </a:solidFill>
                </a:rPr>
                <a:t>3</a:t>
              </a:r>
            </a:p>
          </p:txBody>
        </p:sp>
        <p:cxnSp>
          <p:nvCxnSpPr>
            <p:cNvPr id="545" name="Straight Arrow Connector 544">
              <a:extLst>
                <a:ext uri="{FF2B5EF4-FFF2-40B4-BE49-F238E27FC236}">
                  <a16:creationId xmlns:a16="http://schemas.microsoft.com/office/drawing/2014/main" id="{BE2EF07C-C231-3CBF-23E2-922385755418}"/>
                </a:ext>
              </a:extLst>
            </p:cNvPr>
            <p:cNvCxnSpPr>
              <a:cxnSpLocks/>
              <a:stCxn id="563" idx="6"/>
              <a:endCxn id="551" idx="2"/>
            </p:cNvCxnSpPr>
            <p:nvPr/>
          </p:nvCxnSpPr>
          <p:spPr>
            <a:xfrm>
              <a:off x="2562239" y="5312851"/>
              <a:ext cx="1161350" cy="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7" name="TextBox 546">
              <a:extLst>
                <a:ext uri="{FF2B5EF4-FFF2-40B4-BE49-F238E27FC236}">
                  <a16:creationId xmlns:a16="http://schemas.microsoft.com/office/drawing/2014/main" id="{D07800C3-40C4-BAEE-0853-51E0FB82F93C}"/>
                </a:ext>
              </a:extLst>
            </p:cNvPr>
            <p:cNvSpPr txBox="1">
              <a:spLocks/>
            </p:cNvSpPr>
            <p:nvPr/>
          </p:nvSpPr>
          <p:spPr>
            <a:xfrm>
              <a:off x="2627823" y="5000786"/>
              <a:ext cx="1010126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Confirma pagamento</a:t>
              </a:r>
            </a:p>
          </p:txBody>
        </p: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187B4345-FC22-5F45-715F-27D9E5452B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97809" y="4993702"/>
              <a:ext cx="147942" cy="147942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pt-BR" sz="1000" b="1" kern="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579" name="Oval 578">
              <a:extLst>
                <a:ext uri="{FF2B5EF4-FFF2-40B4-BE49-F238E27FC236}">
                  <a16:creationId xmlns:a16="http://schemas.microsoft.com/office/drawing/2014/main" id="{526ECE4A-7665-FD8B-4747-C9A294D7D2F3}"/>
                </a:ext>
              </a:extLst>
            </p:cNvPr>
            <p:cNvSpPr/>
            <p:nvPr/>
          </p:nvSpPr>
          <p:spPr>
            <a:xfrm>
              <a:off x="5264769" y="5075676"/>
              <a:ext cx="474350" cy="474350"/>
            </a:xfrm>
            <a:prstGeom prst="ellipse">
              <a:avLst/>
            </a:prstGeom>
            <a:solidFill>
              <a:srgbClr val="49C1E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809" tIns="76809" rIns="76809" bIns="76809" rtlCol="0" anchor="ctr"/>
            <a:lstStyle/>
            <a:p>
              <a:pPr algn="ctr"/>
              <a:endParaRPr lang="pt-BR" altLang="zh-CN" sz="1051" kern="0" dirty="0">
                <a:solidFill>
                  <a:schemeClr val="tx1"/>
                </a:solidFill>
              </a:endParaRPr>
            </a:p>
          </p:txBody>
        </p:sp>
        <p:grpSp>
          <p:nvGrpSpPr>
            <p:cNvPr id="580" name="Group 579">
              <a:extLst>
                <a:ext uri="{FF2B5EF4-FFF2-40B4-BE49-F238E27FC236}">
                  <a16:creationId xmlns:a16="http://schemas.microsoft.com/office/drawing/2014/main" id="{C7586977-54E8-71BE-543E-1C6C1A5616BD}"/>
                </a:ext>
              </a:extLst>
            </p:cNvPr>
            <p:cNvGrpSpPr/>
            <p:nvPr/>
          </p:nvGrpSpPr>
          <p:grpSpPr>
            <a:xfrm>
              <a:off x="5380379" y="5184926"/>
              <a:ext cx="243129" cy="255850"/>
              <a:chOff x="4265613" y="3578225"/>
              <a:chExt cx="568325" cy="568325"/>
            </a:xfrm>
            <a:solidFill>
              <a:schemeClr val="bg1"/>
            </a:solidFill>
          </p:grpSpPr>
          <p:sp>
            <p:nvSpPr>
              <p:cNvPr id="581" name="Freeform 16">
                <a:extLst>
                  <a:ext uri="{FF2B5EF4-FFF2-40B4-BE49-F238E27FC236}">
                    <a16:creationId xmlns:a16="http://schemas.microsoft.com/office/drawing/2014/main" id="{2C252FBD-386C-67E0-89D5-FE1CA6E552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65613" y="3578225"/>
                <a:ext cx="568325" cy="568325"/>
              </a:xfrm>
              <a:custGeom>
                <a:avLst/>
                <a:gdLst>
                  <a:gd name="T0" fmla="*/ 1856 w 1984"/>
                  <a:gd name="T1" fmla="*/ 1792 h 1984"/>
                  <a:gd name="T2" fmla="*/ 1760 w 1984"/>
                  <a:gd name="T3" fmla="*/ 704 h 1984"/>
                  <a:gd name="T4" fmla="*/ 1408 w 1984"/>
                  <a:gd name="T5" fmla="*/ 448 h 1984"/>
                  <a:gd name="T6" fmla="*/ 1463 w 1984"/>
                  <a:gd name="T7" fmla="*/ 192 h 1984"/>
                  <a:gd name="T8" fmla="*/ 1066 w 1984"/>
                  <a:gd name="T9" fmla="*/ 0 h 1984"/>
                  <a:gd name="T10" fmla="*/ 630 w 1984"/>
                  <a:gd name="T11" fmla="*/ 192 h 1984"/>
                  <a:gd name="T12" fmla="*/ 436 w 1984"/>
                  <a:gd name="T13" fmla="*/ 448 h 1984"/>
                  <a:gd name="T14" fmla="*/ 576 w 1984"/>
                  <a:gd name="T15" fmla="*/ 704 h 1984"/>
                  <a:gd name="T16" fmla="*/ 128 w 1984"/>
                  <a:gd name="T17" fmla="*/ 800 h 1984"/>
                  <a:gd name="T18" fmla="*/ 96 w 1984"/>
                  <a:gd name="T19" fmla="*/ 1792 h 1984"/>
                  <a:gd name="T20" fmla="*/ 0 w 1984"/>
                  <a:gd name="T21" fmla="*/ 1984 h 1984"/>
                  <a:gd name="T22" fmla="*/ 1984 w 1984"/>
                  <a:gd name="T23" fmla="*/ 1888 h 1984"/>
                  <a:gd name="T24" fmla="*/ 1760 w 1984"/>
                  <a:gd name="T25" fmla="*/ 768 h 1984"/>
                  <a:gd name="T26" fmla="*/ 1792 w 1984"/>
                  <a:gd name="T27" fmla="*/ 1792 h 1984"/>
                  <a:gd name="T28" fmla="*/ 1408 w 1984"/>
                  <a:gd name="T29" fmla="*/ 768 h 1984"/>
                  <a:gd name="T30" fmla="*/ 567 w 1984"/>
                  <a:gd name="T31" fmla="*/ 256 h 1984"/>
                  <a:gd name="T32" fmla="*/ 938 w 1984"/>
                  <a:gd name="T33" fmla="*/ 64 h 1984"/>
                  <a:gd name="T34" fmla="*/ 1334 w 1984"/>
                  <a:gd name="T35" fmla="*/ 256 h 1984"/>
                  <a:gd name="T36" fmla="*/ 1460 w 1984"/>
                  <a:gd name="T37" fmla="*/ 384 h 1984"/>
                  <a:gd name="T38" fmla="*/ 567 w 1984"/>
                  <a:gd name="T39" fmla="*/ 256 h 1984"/>
                  <a:gd name="T40" fmla="*/ 1344 w 1984"/>
                  <a:gd name="T41" fmla="*/ 1792 h 1984"/>
                  <a:gd name="T42" fmla="*/ 1280 w 1984"/>
                  <a:gd name="T43" fmla="*/ 1220 h 1984"/>
                  <a:gd name="T44" fmla="*/ 992 w 1984"/>
                  <a:gd name="T45" fmla="*/ 1023 h 1984"/>
                  <a:gd name="T46" fmla="*/ 704 w 1984"/>
                  <a:gd name="T47" fmla="*/ 1220 h 1984"/>
                  <a:gd name="T48" fmla="*/ 640 w 1984"/>
                  <a:gd name="T49" fmla="*/ 1792 h 1984"/>
                  <a:gd name="T50" fmla="*/ 1344 w 1984"/>
                  <a:gd name="T51" fmla="*/ 448 h 1984"/>
                  <a:gd name="T52" fmla="*/ 1024 w 1984"/>
                  <a:gd name="T53" fmla="*/ 1408 h 1984"/>
                  <a:gd name="T54" fmla="*/ 1216 w 1984"/>
                  <a:gd name="T55" fmla="*/ 1280 h 1984"/>
                  <a:gd name="T56" fmla="*/ 1216 w 1984"/>
                  <a:gd name="T57" fmla="*/ 1472 h 1984"/>
                  <a:gd name="T58" fmla="*/ 1024 w 1984"/>
                  <a:gd name="T59" fmla="*/ 1600 h 1984"/>
                  <a:gd name="T60" fmla="*/ 1216 w 1984"/>
                  <a:gd name="T61" fmla="*/ 1472 h 1984"/>
                  <a:gd name="T62" fmla="*/ 1024 w 1984"/>
                  <a:gd name="T63" fmla="*/ 1097 h 1984"/>
                  <a:gd name="T64" fmla="*/ 1216 w 1984"/>
                  <a:gd name="T65" fmla="*/ 1216 h 1984"/>
                  <a:gd name="T66" fmla="*/ 960 w 1984"/>
                  <a:gd name="T67" fmla="*/ 1216 h 1984"/>
                  <a:gd name="T68" fmla="*/ 841 w 1984"/>
                  <a:gd name="T69" fmla="*/ 1127 h 1984"/>
                  <a:gd name="T70" fmla="*/ 960 w 1984"/>
                  <a:gd name="T71" fmla="*/ 1216 h 1984"/>
                  <a:gd name="T72" fmla="*/ 960 w 1984"/>
                  <a:gd name="T73" fmla="*/ 1280 h 1984"/>
                  <a:gd name="T74" fmla="*/ 768 w 1984"/>
                  <a:gd name="T75" fmla="*/ 1408 h 1984"/>
                  <a:gd name="T76" fmla="*/ 768 w 1984"/>
                  <a:gd name="T77" fmla="*/ 1472 h 1984"/>
                  <a:gd name="T78" fmla="*/ 960 w 1984"/>
                  <a:gd name="T79" fmla="*/ 1600 h 1984"/>
                  <a:gd name="T80" fmla="*/ 768 w 1984"/>
                  <a:gd name="T81" fmla="*/ 1472 h 1984"/>
                  <a:gd name="T82" fmla="*/ 960 w 1984"/>
                  <a:gd name="T83" fmla="*/ 1664 h 1984"/>
                  <a:gd name="T84" fmla="*/ 768 w 1984"/>
                  <a:gd name="T85" fmla="*/ 1792 h 1984"/>
                  <a:gd name="T86" fmla="*/ 1024 w 1984"/>
                  <a:gd name="T87" fmla="*/ 1664 h 1984"/>
                  <a:gd name="T88" fmla="*/ 1216 w 1984"/>
                  <a:gd name="T89" fmla="*/ 1792 h 1984"/>
                  <a:gd name="T90" fmla="*/ 1024 w 1984"/>
                  <a:gd name="T91" fmla="*/ 1664 h 1984"/>
                  <a:gd name="T92" fmla="*/ 224 w 1984"/>
                  <a:gd name="T93" fmla="*/ 768 h 1984"/>
                  <a:gd name="T94" fmla="*/ 576 w 1984"/>
                  <a:gd name="T95" fmla="*/ 1792 h 1984"/>
                  <a:gd name="T96" fmla="*/ 192 w 1984"/>
                  <a:gd name="T97" fmla="*/ 800 h 1984"/>
                  <a:gd name="T98" fmla="*/ 64 w 1984"/>
                  <a:gd name="T99" fmla="*/ 1920 h 1984"/>
                  <a:gd name="T100" fmla="*/ 96 w 1984"/>
                  <a:gd name="T101" fmla="*/ 1856 h 1984"/>
                  <a:gd name="T102" fmla="*/ 1920 w 1984"/>
                  <a:gd name="T103" fmla="*/ 1888 h 19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984" h="1984">
                    <a:moveTo>
                      <a:pt x="1888" y="1792"/>
                    </a:moveTo>
                    <a:cubicBezTo>
                      <a:pt x="1856" y="1792"/>
                      <a:pt x="1856" y="1792"/>
                      <a:pt x="1856" y="1792"/>
                    </a:cubicBezTo>
                    <a:cubicBezTo>
                      <a:pt x="1856" y="800"/>
                      <a:pt x="1856" y="800"/>
                      <a:pt x="1856" y="800"/>
                    </a:cubicBezTo>
                    <a:cubicBezTo>
                      <a:pt x="1856" y="747"/>
                      <a:pt x="1813" y="704"/>
                      <a:pt x="1760" y="704"/>
                    </a:cubicBezTo>
                    <a:cubicBezTo>
                      <a:pt x="1408" y="704"/>
                      <a:pt x="1408" y="704"/>
                      <a:pt x="1408" y="704"/>
                    </a:cubicBezTo>
                    <a:cubicBezTo>
                      <a:pt x="1408" y="448"/>
                      <a:pt x="1408" y="448"/>
                      <a:pt x="1408" y="448"/>
                    </a:cubicBezTo>
                    <a:cubicBezTo>
                      <a:pt x="1548" y="448"/>
                      <a:pt x="1548" y="448"/>
                      <a:pt x="1548" y="448"/>
                    </a:cubicBezTo>
                    <a:cubicBezTo>
                      <a:pt x="1463" y="192"/>
                      <a:pt x="1463" y="192"/>
                      <a:pt x="1463" y="192"/>
                    </a:cubicBezTo>
                    <a:cubicBezTo>
                      <a:pt x="1354" y="192"/>
                      <a:pt x="1354" y="192"/>
                      <a:pt x="1354" y="192"/>
                    </a:cubicBezTo>
                    <a:cubicBezTo>
                      <a:pt x="1066" y="0"/>
                      <a:pt x="1066" y="0"/>
                      <a:pt x="1066" y="0"/>
                    </a:cubicBezTo>
                    <a:cubicBezTo>
                      <a:pt x="918" y="0"/>
                      <a:pt x="918" y="0"/>
                      <a:pt x="918" y="0"/>
                    </a:cubicBezTo>
                    <a:cubicBezTo>
                      <a:pt x="630" y="192"/>
                      <a:pt x="630" y="192"/>
                      <a:pt x="630" y="192"/>
                    </a:cubicBezTo>
                    <a:cubicBezTo>
                      <a:pt x="521" y="192"/>
                      <a:pt x="521" y="192"/>
                      <a:pt x="521" y="192"/>
                    </a:cubicBezTo>
                    <a:cubicBezTo>
                      <a:pt x="436" y="448"/>
                      <a:pt x="436" y="448"/>
                      <a:pt x="436" y="448"/>
                    </a:cubicBezTo>
                    <a:cubicBezTo>
                      <a:pt x="576" y="448"/>
                      <a:pt x="576" y="448"/>
                      <a:pt x="576" y="448"/>
                    </a:cubicBezTo>
                    <a:cubicBezTo>
                      <a:pt x="576" y="704"/>
                      <a:pt x="576" y="704"/>
                      <a:pt x="576" y="704"/>
                    </a:cubicBezTo>
                    <a:cubicBezTo>
                      <a:pt x="224" y="704"/>
                      <a:pt x="224" y="704"/>
                      <a:pt x="224" y="704"/>
                    </a:cubicBezTo>
                    <a:cubicBezTo>
                      <a:pt x="171" y="704"/>
                      <a:pt x="128" y="747"/>
                      <a:pt x="128" y="800"/>
                    </a:cubicBezTo>
                    <a:cubicBezTo>
                      <a:pt x="128" y="1792"/>
                      <a:pt x="128" y="1792"/>
                      <a:pt x="128" y="1792"/>
                    </a:cubicBezTo>
                    <a:cubicBezTo>
                      <a:pt x="96" y="1792"/>
                      <a:pt x="96" y="1792"/>
                      <a:pt x="96" y="1792"/>
                    </a:cubicBezTo>
                    <a:cubicBezTo>
                      <a:pt x="43" y="1792"/>
                      <a:pt x="0" y="1835"/>
                      <a:pt x="0" y="1888"/>
                    </a:cubicBezTo>
                    <a:cubicBezTo>
                      <a:pt x="0" y="1984"/>
                      <a:pt x="0" y="1984"/>
                      <a:pt x="0" y="1984"/>
                    </a:cubicBezTo>
                    <a:cubicBezTo>
                      <a:pt x="1984" y="1984"/>
                      <a:pt x="1984" y="1984"/>
                      <a:pt x="1984" y="1984"/>
                    </a:cubicBezTo>
                    <a:cubicBezTo>
                      <a:pt x="1984" y="1888"/>
                      <a:pt x="1984" y="1888"/>
                      <a:pt x="1984" y="1888"/>
                    </a:cubicBezTo>
                    <a:cubicBezTo>
                      <a:pt x="1984" y="1835"/>
                      <a:pt x="1941" y="1792"/>
                      <a:pt x="1888" y="1792"/>
                    </a:cubicBezTo>
                    <a:close/>
                    <a:moveTo>
                      <a:pt x="1760" y="768"/>
                    </a:moveTo>
                    <a:cubicBezTo>
                      <a:pt x="1778" y="768"/>
                      <a:pt x="1792" y="782"/>
                      <a:pt x="1792" y="800"/>
                    </a:cubicBezTo>
                    <a:cubicBezTo>
                      <a:pt x="1792" y="1792"/>
                      <a:pt x="1792" y="1792"/>
                      <a:pt x="1792" y="1792"/>
                    </a:cubicBezTo>
                    <a:cubicBezTo>
                      <a:pt x="1408" y="1792"/>
                      <a:pt x="1408" y="1792"/>
                      <a:pt x="1408" y="1792"/>
                    </a:cubicBezTo>
                    <a:cubicBezTo>
                      <a:pt x="1408" y="768"/>
                      <a:pt x="1408" y="768"/>
                      <a:pt x="1408" y="768"/>
                    </a:cubicBezTo>
                    <a:lnTo>
                      <a:pt x="1760" y="768"/>
                    </a:lnTo>
                    <a:close/>
                    <a:moveTo>
                      <a:pt x="567" y="256"/>
                    </a:moveTo>
                    <a:cubicBezTo>
                      <a:pt x="650" y="256"/>
                      <a:pt x="650" y="256"/>
                      <a:pt x="650" y="256"/>
                    </a:cubicBezTo>
                    <a:cubicBezTo>
                      <a:pt x="938" y="64"/>
                      <a:pt x="938" y="64"/>
                      <a:pt x="938" y="64"/>
                    </a:cubicBezTo>
                    <a:cubicBezTo>
                      <a:pt x="1046" y="64"/>
                      <a:pt x="1046" y="64"/>
                      <a:pt x="1046" y="64"/>
                    </a:cubicBezTo>
                    <a:cubicBezTo>
                      <a:pt x="1334" y="256"/>
                      <a:pt x="1334" y="256"/>
                      <a:pt x="1334" y="256"/>
                    </a:cubicBezTo>
                    <a:cubicBezTo>
                      <a:pt x="1417" y="256"/>
                      <a:pt x="1417" y="256"/>
                      <a:pt x="1417" y="256"/>
                    </a:cubicBezTo>
                    <a:cubicBezTo>
                      <a:pt x="1460" y="384"/>
                      <a:pt x="1460" y="384"/>
                      <a:pt x="1460" y="384"/>
                    </a:cubicBezTo>
                    <a:cubicBezTo>
                      <a:pt x="524" y="384"/>
                      <a:pt x="524" y="384"/>
                      <a:pt x="524" y="384"/>
                    </a:cubicBezTo>
                    <a:lnTo>
                      <a:pt x="567" y="256"/>
                    </a:lnTo>
                    <a:close/>
                    <a:moveTo>
                      <a:pt x="1344" y="448"/>
                    </a:moveTo>
                    <a:cubicBezTo>
                      <a:pt x="1344" y="1792"/>
                      <a:pt x="1344" y="1792"/>
                      <a:pt x="1344" y="1792"/>
                    </a:cubicBezTo>
                    <a:cubicBezTo>
                      <a:pt x="1280" y="1792"/>
                      <a:pt x="1280" y="1792"/>
                      <a:pt x="1280" y="1792"/>
                    </a:cubicBezTo>
                    <a:cubicBezTo>
                      <a:pt x="1280" y="1220"/>
                      <a:pt x="1280" y="1220"/>
                      <a:pt x="1280" y="1220"/>
                    </a:cubicBezTo>
                    <a:cubicBezTo>
                      <a:pt x="1280" y="1146"/>
                      <a:pt x="1230" y="1083"/>
                      <a:pt x="1159" y="1065"/>
                    </a:cubicBezTo>
                    <a:cubicBezTo>
                      <a:pt x="992" y="1023"/>
                      <a:pt x="992" y="1023"/>
                      <a:pt x="992" y="1023"/>
                    </a:cubicBezTo>
                    <a:cubicBezTo>
                      <a:pt x="825" y="1065"/>
                      <a:pt x="825" y="1065"/>
                      <a:pt x="825" y="1065"/>
                    </a:cubicBezTo>
                    <a:cubicBezTo>
                      <a:pt x="754" y="1083"/>
                      <a:pt x="704" y="1146"/>
                      <a:pt x="704" y="1220"/>
                    </a:cubicBezTo>
                    <a:cubicBezTo>
                      <a:pt x="704" y="1792"/>
                      <a:pt x="704" y="1792"/>
                      <a:pt x="704" y="1792"/>
                    </a:cubicBezTo>
                    <a:cubicBezTo>
                      <a:pt x="640" y="1792"/>
                      <a:pt x="640" y="1792"/>
                      <a:pt x="640" y="1792"/>
                    </a:cubicBezTo>
                    <a:cubicBezTo>
                      <a:pt x="640" y="448"/>
                      <a:pt x="640" y="448"/>
                      <a:pt x="640" y="448"/>
                    </a:cubicBezTo>
                    <a:lnTo>
                      <a:pt x="1344" y="448"/>
                    </a:lnTo>
                    <a:close/>
                    <a:moveTo>
                      <a:pt x="1216" y="1408"/>
                    </a:moveTo>
                    <a:cubicBezTo>
                      <a:pt x="1024" y="1408"/>
                      <a:pt x="1024" y="1408"/>
                      <a:pt x="1024" y="1408"/>
                    </a:cubicBezTo>
                    <a:cubicBezTo>
                      <a:pt x="1024" y="1280"/>
                      <a:pt x="1024" y="1280"/>
                      <a:pt x="1024" y="1280"/>
                    </a:cubicBezTo>
                    <a:cubicBezTo>
                      <a:pt x="1216" y="1280"/>
                      <a:pt x="1216" y="1280"/>
                      <a:pt x="1216" y="1280"/>
                    </a:cubicBezTo>
                    <a:lnTo>
                      <a:pt x="1216" y="1408"/>
                    </a:lnTo>
                    <a:close/>
                    <a:moveTo>
                      <a:pt x="1216" y="1472"/>
                    </a:moveTo>
                    <a:cubicBezTo>
                      <a:pt x="1216" y="1600"/>
                      <a:pt x="1216" y="1600"/>
                      <a:pt x="1216" y="1600"/>
                    </a:cubicBezTo>
                    <a:cubicBezTo>
                      <a:pt x="1024" y="1600"/>
                      <a:pt x="1024" y="1600"/>
                      <a:pt x="1024" y="1600"/>
                    </a:cubicBezTo>
                    <a:cubicBezTo>
                      <a:pt x="1024" y="1472"/>
                      <a:pt x="1024" y="1472"/>
                      <a:pt x="1024" y="1472"/>
                    </a:cubicBezTo>
                    <a:lnTo>
                      <a:pt x="1216" y="1472"/>
                    </a:lnTo>
                    <a:close/>
                    <a:moveTo>
                      <a:pt x="1024" y="1216"/>
                    </a:moveTo>
                    <a:cubicBezTo>
                      <a:pt x="1024" y="1097"/>
                      <a:pt x="1024" y="1097"/>
                      <a:pt x="1024" y="1097"/>
                    </a:cubicBezTo>
                    <a:cubicBezTo>
                      <a:pt x="1143" y="1127"/>
                      <a:pt x="1143" y="1127"/>
                      <a:pt x="1143" y="1127"/>
                    </a:cubicBezTo>
                    <a:cubicBezTo>
                      <a:pt x="1185" y="1137"/>
                      <a:pt x="1214" y="1174"/>
                      <a:pt x="1216" y="1216"/>
                    </a:cubicBezTo>
                    <a:lnTo>
                      <a:pt x="1024" y="1216"/>
                    </a:lnTo>
                    <a:close/>
                    <a:moveTo>
                      <a:pt x="960" y="1216"/>
                    </a:moveTo>
                    <a:cubicBezTo>
                      <a:pt x="768" y="1216"/>
                      <a:pt x="768" y="1216"/>
                      <a:pt x="768" y="1216"/>
                    </a:cubicBezTo>
                    <a:cubicBezTo>
                      <a:pt x="770" y="1174"/>
                      <a:pt x="799" y="1137"/>
                      <a:pt x="841" y="1127"/>
                    </a:cubicBezTo>
                    <a:cubicBezTo>
                      <a:pt x="960" y="1097"/>
                      <a:pt x="960" y="1097"/>
                      <a:pt x="960" y="1097"/>
                    </a:cubicBezTo>
                    <a:lnTo>
                      <a:pt x="960" y="1216"/>
                    </a:lnTo>
                    <a:close/>
                    <a:moveTo>
                      <a:pt x="768" y="1280"/>
                    </a:moveTo>
                    <a:cubicBezTo>
                      <a:pt x="960" y="1280"/>
                      <a:pt x="960" y="1280"/>
                      <a:pt x="960" y="1280"/>
                    </a:cubicBezTo>
                    <a:cubicBezTo>
                      <a:pt x="960" y="1408"/>
                      <a:pt x="960" y="1408"/>
                      <a:pt x="960" y="1408"/>
                    </a:cubicBezTo>
                    <a:cubicBezTo>
                      <a:pt x="768" y="1408"/>
                      <a:pt x="768" y="1408"/>
                      <a:pt x="768" y="1408"/>
                    </a:cubicBezTo>
                    <a:lnTo>
                      <a:pt x="768" y="1280"/>
                    </a:lnTo>
                    <a:close/>
                    <a:moveTo>
                      <a:pt x="768" y="1472"/>
                    </a:moveTo>
                    <a:cubicBezTo>
                      <a:pt x="960" y="1472"/>
                      <a:pt x="960" y="1472"/>
                      <a:pt x="960" y="1472"/>
                    </a:cubicBezTo>
                    <a:cubicBezTo>
                      <a:pt x="960" y="1600"/>
                      <a:pt x="960" y="1600"/>
                      <a:pt x="960" y="1600"/>
                    </a:cubicBezTo>
                    <a:cubicBezTo>
                      <a:pt x="768" y="1600"/>
                      <a:pt x="768" y="1600"/>
                      <a:pt x="768" y="1600"/>
                    </a:cubicBezTo>
                    <a:lnTo>
                      <a:pt x="768" y="1472"/>
                    </a:lnTo>
                    <a:close/>
                    <a:moveTo>
                      <a:pt x="768" y="1664"/>
                    </a:moveTo>
                    <a:cubicBezTo>
                      <a:pt x="960" y="1664"/>
                      <a:pt x="960" y="1664"/>
                      <a:pt x="960" y="1664"/>
                    </a:cubicBezTo>
                    <a:cubicBezTo>
                      <a:pt x="960" y="1792"/>
                      <a:pt x="960" y="1792"/>
                      <a:pt x="960" y="1792"/>
                    </a:cubicBezTo>
                    <a:cubicBezTo>
                      <a:pt x="768" y="1792"/>
                      <a:pt x="768" y="1792"/>
                      <a:pt x="768" y="1792"/>
                    </a:cubicBezTo>
                    <a:lnTo>
                      <a:pt x="768" y="1664"/>
                    </a:lnTo>
                    <a:close/>
                    <a:moveTo>
                      <a:pt x="1024" y="1664"/>
                    </a:moveTo>
                    <a:cubicBezTo>
                      <a:pt x="1216" y="1664"/>
                      <a:pt x="1216" y="1664"/>
                      <a:pt x="1216" y="1664"/>
                    </a:cubicBezTo>
                    <a:cubicBezTo>
                      <a:pt x="1216" y="1792"/>
                      <a:pt x="1216" y="1792"/>
                      <a:pt x="1216" y="1792"/>
                    </a:cubicBezTo>
                    <a:cubicBezTo>
                      <a:pt x="1024" y="1792"/>
                      <a:pt x="1024" y="1792"/>
                      <a:pt x="1024" y="1792"/>
                    </a:cubicBezTo>
                    <a:lnTo>
                      <a:pt x="1024" y="1664"/>
                    </a:lnTo>
                    <a:close/>
                    <a:moveTo>
                      <a:pt x="192" y="800"/>
                    </a:moveTo>
                    <a:cubicBezTo>
                      <a:pt x="192" y="782"/>
                      <a:pt x="206" y="768"/>
                      <a:pt x="224" y="768"/>
                    </a:cubicBezTo>
                    <a:cubicBezTo>
                      <a:pt x="576" y="768"/>
                      <a:pt x="576" y="768"/>
                      <a:pt x="576" y="768"/>
                    </a:cubicBezTo>
                    <a:cubicBezTo>
                      <a:pt x="576" y="1792"/>
                      <a:pt x="576" y="1792"/>
                      <a:pt x="576" y="1792"/>
                    </a:cubicBezTo>
                    <a:cubicBezTo>
                      <a:pt x="192" y="1792"/>
                      <a:pt x="192" y="1792"/>
                      <a:pt x="192" y="1792"/>
                    </a:cubicBezTo>
                    <a:lnTo>
                      <a:pt x="192" y="800"/>
                    </a:lnTo>
                    <a:close/>
                    <a:moveTo>
                      <a:pt x="1920" y="1920"/>
                    </a:moveTo>
                    <a:cubicBezTo>
                      <a:pt x="64" y="1920"/>
                      <a:pt x="64" y="1920"/>
                      <a:pt x="64" y="1920"/>
                    </a:cubicBezTo>
                    <a:cubicBezTo>
                      <a:pt x="64" y="1888"/>
                      <a:pt x="64" y="1888"/>
                      <a:pt x="64" y="1888"/>
                    </a:cubicBezTo>
                    <a:cubicBezTo>
                      <a:pt x="64" y="1870"/>
                      <a:pt x="78" y="1856"/>
                      <a:pt x="96" y="1856"/>
                    </a:cubicBezTo>
                    <a:cubicBezTo>
                      <a:pt x="1888" y="1856"/>
                      <a:pt x="1888" y="1856"/>
                      <a:pt x="1888" y="1856"/>
                    </a:cubicBezTo>
                    <a:cubicBezTo>
                      <a:pt x="1906" y="1856"/>
                      <a:pt x="1920" y="1870"/>
                      <a:pt x="1920" y="1888"/>
                    </a:cubicBezTo>
                    <a:lnTo>
                      <a:pt x="1920" y="19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82" name="Freeform 17">
                <a:extLst>
                  <a:ext uri="{FF2B5EF4-FFF2-40B4-BE49-F238E27FC236}">
                    <a16:creationId xmlns:a16="http://schemas.microsoft.com/office/drawing/2014/main" id="{1F83D110-8E81-13ED-31E0-DFA68A4DCF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2788" y="3724275"/>
                <a:ext cx="53975" cy="128588"/>
              </a:xfrm>
              <a:custGeom>
                <a:avLst/>
                <a:gdLst>
                  <a:gd name="T0" fmla="*/ 96 w 192"/>
                  <a:gd name="T1" fmla="*/ 320 h 448"/>
                  <a:gd name="T2" fmla="*/ 64 w 192"/>
                  <a:gd name="T3" fmla="*/ 288 h 448"/>
                  <a:gd name="T4" fmla="*/ 0 w 192"/>
                  <a:gd name="T5" fmla="*/ 288 h 448"/>
                  <a:gd name="T6" fmla="*/ 64 w 192"/>
                  <a:gd name="T7" fmla="*/ 378 h 448"/>
                  <a:gd name="T8" fmla="*/ 64 w 192"/>
                  <a:gd name="T9" fmla="*/ 448 h 448"/>
                  <a:gd name="T10" fmla="*/ 128 w 192"/>
                  <a:gd name="T11" fmla="*/ 448 h 448"/>
                  <a:gd name="T12" fmla="*/ 128 w 192"/>
                  <a:gd name="T13" fmla="*/ 384 h 448"/>
                  <a:gd name="T14" fmla="*/ 192 w 192"/>
                  <a:gd name="T15" fmla="*/ 384 h 448"/>
                  <a:gd name="T16" fmla="*/ 192 w 192"/>
                  <a:gd name="T17" fmla="*/ 288 h 448"/>
                  <a:gd name="T18" fmla="*/ 96 w 192"/>
                  <a:gd name="T19" fmla="*/ 192 h 448"/>
                  <a:gd name="T20" fmla="*/ 64 w 192"/>
                  <a:gd name="T21" fmla="*/ 160 h 448"/>
                  <a:gd name="T22" fmla="*/ 64 w 192"/>
                  <a:gd name="T23" fmla="*/ 128 h 448"/>
                  <a:gd name="T24" fmla="*/ 96 w 192"/>
                  <a:gd name="T25" fmla="*/ 128 h 448"/>
                  <a:gd name="T26" fmla="*/ 128 w 192"/>
                  <a:gd name="T27" fmla="*/ 160 h 448"/>
                  <a:gd name="T28" fmla="*/ 192 w 192"/>
                  <a:gd name="T29" fmla="*/ 160 h 448"/>
                  <a:gd name="T30" fmla="*/ 128 w 192"/>
                  <a:gd name="T31" fmla="*/ 70 h 448"/>
                  <a:gd name="T32" fmla="*/ 128 w 192"/>
                  <a:gd name="T33" fmla="*/ 0 h 448"/>
                  <a:gd name="T34" fmla="*/ 64 w 192"/>
                  <a:gd name="T35" fmla="*/ 0 h 448"/>
                  <a:gd name="T36" fmla="*/ 64 w 192"/>
                  <a:gd name="T37" fmla="*/ 64 h 448"/>
                  <a:gd name="T38" fmla="*/ 0 w 192"/>
                  <a:gd name="T39" fmla="*/ 64 h 448"/>
                  <a:gd name="T40" fmla="*/ 0 w 192"/>
                  <a:gd name="T41" fmla="*/ 160 h 448"/>
                  <a:gd name="T42" fmla="*/ 96 w 192"/>
                  <a:gd name="T43" fmla="*/ 256 h 448"/>
                  <a:gd name="T44" fmla="*/ 128 w 192"/>
                  <a:gd name="T45" fmla="*/ 288 h 448"/>
                  <a:gd name="T46" fmla="*/ 128 w 192"/>
                  <a:gd name="T47" fmla="*/ 320 h 448"/>
                  <a:gd name="T48" fmla="*/ 96 w 192"/>
                  <a:gd name="T49" fmla="*/ 320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2" h="448">
                    <a:moveTo>
                      <a:pt x="96" y="320"/>
                    </a:moveTo>
                    <a:cubicBezTo>
                      <a:pt x="78" y="320"/>
                      <a:pt x="64" y="306"/>
                      <a:pt x="64" y="288"/>
                    </a:cubicBezTo>
                    <a:cubicBezTo>
                      <a:pt x="0" y="288"/>
                      <a:pt x="0" y="288"/>
                      <a:pt x="0" y="288"/>
                    </a:cubicBezTo>
                    <a:cubicBezTo>
                      <a:pt x="0" y="330"/>
                      <a:pt x="27" y="365"/>
                      <a:pt x="64" y="378"/>
                    </a:cubicBezTo>
                    <a:cubicBezTo>
                      <a:pt x="64" y="448"/>
                      <a:pt x="64" y="448"/>
                      <a:pt x="64" y="448"/>
                    </a:cubicBezTo>
                    <a:cubicBezTo>
                      <a:pt x="128" y="448"/>
                      <a:pt x="128" y="448"/>
                      <a:pt x="128" y="448"/>
                    </a:cubicBezTo>
                    <a:cubicBezTo>
                      <a:pt x="128" y="384"/>
                      <a:pt x="128" y="384"/>
                      <a:pt x="128" y="384"/>
                    </a:cubicBezTo>
                    <a:cubicBezTo>
                      <a:pt x="192" y="384"/>
                      <a:pt x="192" y="384"/>
                      <a:pt x="192" y="384"/>
                    </a:cubicBezTo>
                    <a:cubicBezTo>
                      <a:pt x="192" y="288"/>
                      <a:pt x="192" y="288"/>
                      <a:pt x="192" y="288"/>
                    </a:cubicBezTo>
                    <a:cubicBezTo>
                      <a:pt x="192" y="235"/>
                      <a:pt x="149" y="192"/>
                      <a:pt x="96" y="192"/>
                    </a:cubicBezTo>
                    <a:cubicBezTo>
                      <a:pt x="78" y="192"/>
                      <a:pt x="64" y="178"/>
                      <a:pt x="64" y="160"/>
                    </a:cubicBezTo>
                    <a:cubicBezTo>
                      <a:pt x="64" y="128"/>
                      <a:pt x="64" y="128"/>
                      <a:pt x="64" y="128"/>
                    </a:cubicBezTo>
                    <a:cubicBezTo>
                      <a:pt x="96" y="128"/>
                      <a:pt x="96" y="128"/>
                      <a:pt x="96" y="128"/>
                    </a:cubicBezTo>
                    <a:cubicBezTo>
                      <a:pt x="114" y="128"/>
                      <a:pt x="128" y="142"/>
                      <a:pt x="128" y="160"/>
                    </a:cubicBezTo>
                    <a:cubicBezTo>
                      <a:pt x="192" y="160"/>
                      <a:pt x="192" y="160"/>
                      <a:pt x="192" y="160"/>
                    </a:cubicBezTo>
                    <a:cubicBezTo>
                      <a:pt x="192" y="118"/>
                      <a:pt x="165" y="83"/>
                      <a:pt x="128" y="7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213"/>
                      <a:pt x="43" y="256"/>
                      <a:pt x="96" y="256"/>
                    </a:cubicBezTo>
                    <a:cubicBezTo>
                      <a:pt x="114" y="256"/>
                      <a:pt x="128" y="270"/>
                      <a:pt x="128" y="288"/>
                    </a:cubicBezTo>
                    <a:cubicBezTo>
                      <a:pt x="128" y="320"/>
                      <a:pt x="128" y="320"/>
                      <a:pt x="128" y="320"/>
                    </a:cubicBezTo>
                    <a:lnTo>
                      <a:pt x="96" y="3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83" name="Freeform 18">
                <a:extLst>
                  <a:ext uri="{FF2B5EF4-FFF2-40B4-BE49-F238E27FC236}">
                    <a16:creationId xmlns:a16="http://schemas.microsoft.com/office/drawing/2014/main" id="{8276024A-2AF7-5895-047B-9CDF56D200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87888" y="4000500"/>
                <a:ext cx="73025" cy="73025"/>
              </a:xfrm>
              <a:custGeom>
                <a:avLst/>
                <a:gdLst>
                  <a:gd name="T0" fmla="*/ 46 w 46"/>
                  <a:gd name="T1" fmla="*/ 46 h 46"/>
                  <a:gd name="T2" fmla="*/ 46 w 46"/>
                  <a:gd name="T3" fmla="*/ 0 h 46"/>
                  <a:gd name="T4" fmla="*/ 0 w 46"/>
                  <a:gd name="T5" fmla="*/ 0 h 46"/>
                  <a:gd name="T6" fmla="*/ 0 w 46"/>
                  <a:gd name="T7" fmla="*/ 46 h 46"/>
                  <a:gd name="T8" fmla="*/ 46 w 46"/>
                  <a:gd name="T9" fmla="*/ 46 h 46"/>
                  <a:gd name="T10" fmla="*/ 11 w 46"/>
                  <a:gd name="T11" fmla="*/ 11 h 46"/>
                  <a:gd name="T12" fmla="*/ 34 w 46"/>
                  <a:gd name="T13" fmla="*/ 11 h 46"/>
                  <a:gd name="T14" fmla="*/ 34 w 46"/>
                  <a:gd name="T15" fmla="*/ 34 h 46"/>
                  <a:gd name="T16" fmla="*/ 11 w 46"/>
                  <a:gd name="T17" fmla="*/ 34 h 46"/>
                  <a:gd name="T18" fmla="*/ 11 w 46"/>
                  <a:gd name="T19" fmla="*/ 1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46" y="46"/>
                    </a:moveTo>
                    <a:lnTo>
                      <a:pt x="46" y="0"/>
                    </a:lnTo>
                    <a:lnTo>
                      <a:pt x="0" y="0"/>
                    </a:lnTo>
                    <a:lnTo>
                      <a:pt x="0" y="46"/>
                    </a:lnTo>
                    <a:lnTo>
                      <a:pt x="46" y="46"/>
                    </a:lnTo>
                    <a:close/>
                    <a:moveTo>
                      <a:pt x="11" y="11"/>
                    </a:moveTo>
                    <a:lnTo>
                      <a:pt x="34" y="11"/>
                    </a:lnTo>
                    <a:lnTo>
                      <a:pt x="34" y="34"/>
                    </a:lnTo>
                    <a:lnTo>
                      <a:pt x="11" y="34"/>
                    </a:lnTo>
                    <a:lnTo>
                      <a:pt x="11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84" name="Freeform 19">
                <a:extLst>
                  <a:ext uri="{FF2B5EF4-FFF2-40B4-BE49-F238E27FC236}">
                    <a16:creationId xmlns:a16="http://schemas.microsoft.com/office/drawing/2014/main" id="{72D823D9-FAAC-042D-568C-3E06AE4766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87888" y="3908425"/>
                <a:ext cx="73025" cy="73025"/>
              </a:xfrm>
              <a:custGeom>
                <a:avLst/>
                <a:gdLst>
                  <a:gd name="T0" fmla="*/ 46 w 46"/>
                  <a:gd name="T1" fmla="*/ 0 h 46"/>
                  <a:gd name="T2" fmla="*/ 0 w 46"/>
                  <a:gd name="T3" fmla="*/ 0 h 46"/>
                  <a:gd name="T4" fmla="*/ 0 w 46"/>
                  <a:gd name="T5" fmla="*/ 46 h 46"/>
                  <a:gd name="T6" fmla="*/ 46 w 46"/>
                  <a:gd name="T7" fmla="*/ 46 h 46"/>
                  <a:gd name="T8" fmla="*/ 46 w 46"/>
                  <a:gd name="T9" fmla="*/ 0 h 46"/>
                  <a:gd name="T10" fmla="*/ 34 w 46"/>
                  <a:gd name="T11" fmla="*/ 34 h 46"/>
                  <a:gd name="T12" fmla="*/ 11 w 46"/>
                  <a:gd name="T13" fmla="*/ 34 h 46"/>
                  <a:gd name="T14" fmla="*/ 11 w 46"/>
                  <a:gd name="T15" fmla="*/ 11 h 46"/>
                  <a:gd name="T16" fmla="*/ 34 w 46"/>
                  <a:gd name="T17" fmla="*/ 11 h 46"/>
                  <a:gd name="T18" fmla="*/ 34 w 46"/>
                  <a:gd name="T1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46" y="0"/>
                    </a:moveTo>
                    <a:lnTo>
                      <a:pt x="0" y="0"/>
                    </a:lnTo>
                    <a:lnTo>
                      <a:pt x="0" y="46"/>
                    </a:lnTo>
                    <a:lnTo>
                      <a:pt x="46" y="46"/>
                    </a:lnTo>
                    <a:lnTo>
                      <a:pt x="46" y="0"/>
                    </a:lnTo>
                    <a:close/>
                    <a:moveTo>
                      <a:pt x="34" y="34"/>
                    </a:moveTo>
                    <a:lnTo>
                      <a:pt x="11" y="34"/>
                    </a:lnTo>
                    <a:lnTo>
                      <a:pt x="11" y="11"/>
                    </a:lnTo>
                    <a:lnTo>
                      <a:pt x="34" y="11"/>
                    </a:lnTo>
                    <a:lnTo>
                      <a:pt x="3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85" name="Freeform 20">
                <a:extLst>
                  <a:ext uri="{FF2B5EF4-FFF2-40B4-BE49-F238E27FC236}">
                    <a16:creationId xmlns:a16="http://schemas.microsoft.com/office/drawing/2014/main" id="{9BB0888C-5BBC-9A59-B891-99EF90C5B5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87888" y="3816350"/>
                <a:ext cx="73025" cy="73025"/>
              </a:xfrm>
              <a:custGeom>
                <a:avLst/>
                <a:gdLst>
                  <a:gd name="T0" fmla="*/ 46 w 46"/>
                  <a:gd name="T1" fmla="*/ 0 h 46"/>
                  <a:gd name="T2" fmla="*/ 0 w 46"/>
                  <a:gd name="T3" fmla="*/ 0 h 46"/>
                  <a:gd name="T4" fmla="*/ 0 w 46"/>
                  <a:gd name="T5" fmla="*/ 46 h 46"/>
                  <a:gd name="T6" fmla="*/ 46 w 46"/>
                  <a:gd name="T7" fmla="*/ 46 h 46"/>
                  <a:gd name="T8" fmla="*/ 46 w 46"/>
                  <a:gd name="T9" fmla="*/ 0 h 46"/>
                  <a:gd name="T10" fmla="*/ 34 w 46"/>
                  <a:gd name="T11" fmla="*/ 35 h 46"/>
                  <a:gd name="T12" fmla="*/ 11 w 46"/>
                  <a:gd name="T13" fmla="*/ 35 h 46"/>
                  <a:gd name="T14" fmla="*/ 11 w 46"/>
                  <a:gd name="T15" fmla="*/ 12 h 46"/>
                  <a:gd name="T16" fmla="*/ 34 w 46"/>
                  <a:gd name="T17" fmla="*/ 12 h 46"/>
                  <a:gd name="T18" fmla="*/ 34 w 46"/>
                  <a:gd name="T19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46" y="0"/>
                    </a:moveTo>
                    <a:lnTo>
                      <a:pt x="0" y="0"/>
                    </a:lnTo>
                    <a:lnTo>
                      <a:pt x="0" y="46"/>
                    </a:lnTo>
                    <a:lnTo>
                      <a:pt x="46" y="46"/>
                    </a:lnTo>
                    <a:lnTo>
                      <a:pt x="46" y="0"/>
                    </a:lnTo>
                    <a:close/>
                    <a:moveTo>
                      <a:pt x="34" y="35"/>
                    </a:moveTo>
                    <a:lnTo>
                      <a:pt x="11" y="35"/>
                    </a:lnTo>
                    <a:lnTo>
                      <a:pt x="11" y="12"/>
                    </a:lnTo>
                    <a:lnTo>
                      <a:pt x="34" y="12"/>
                    </a:lnTo>
                    <a:lnTo>
                      <a:pt x="34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86" name="Freeform 21">
                <a:extLst>
                  <a:ext uri="{FF2B5EF4-FFF2-40B4-BE49-F238E27FC236}">
                    <a16:creationId xmlns:a16="http://schemas.microsoft.com/office/drawing/2014/main" id="{8E0A2E78-1D09-3D31-4A83-3E7CB62BAD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8638" y="4000500"/>
                <a:ext cx="73025" cy="73025"/>
              </a:xfrm>
              <a:custGeom>
                <a:avLst/>
                <a:gdLst>
                  <a:gd name="T0" fmla="*/ 0 w 46"/>
                  <a:gd name="T1" fmla="*/ 46 h 46"/>
                  <a:gd name="T2" fmla="*/ 46 w 46"/>
                  <a:gd name="T3" fmla="*/ 46 h 46"/>
                  <a:gd name="T4" fmla="*/ 46 w 46"/>
                  <a:gd name="T5" fmla="*/ 0 h 46"/>
                  <a:gd name="T6" fmla="*/ 0 w 46"/>
                  <a:gd name="T7" fmla="*/ 0 h 46"/>
                  <a:gd name="T8" fmla="*/ 0 w 46"/>
                  <a:gd name="T9" fmla="*/ 46 h 46"/>
                  <a:gd name="T10" fmla="*/ 12 w 46"/>
                  <a:gd name="T11" fmla="*/ 11 h 46"/>
                  <a:gd name="T12" fmla="*/ 35 w 46"/>
                  <a:gd name="T13" fmla="*/ 11 h 46"/>
                  <a:gd name="T14" fmla="*/ 35 w 46"/>
                  <a:gd name="T15" fmla="*/ 34 h 46"/>
                  <a:gd name="T16" fmla="*/ 12 w 46"/>
                  <a:gd name="T17" fmla="*/ 34 h 46"/>
                  <a:gd name="T18" fmla="*/ 12 w 46"/>
                  <a:gd name="T19" fmla="*/ 1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0" y="46"/>
                    </a:moveTo>
                    <a:lnTo>
                      <a:pt x="46" y="46"/>
                    </a:lnTo>
                    <a:lnTo>
                      <a:pt x="46" y="0"/>
                    </a:lnTo>
                    <a:lnTo>
                      <a:pt x="0" y="0"/>
                    </a:lnTo>
                    <a:lnTo>
                      <a:pt x="0" y="46"/>
                    </a:lnTo>
                    <a:close/>
                    <a:moveTo>
                      <a:pt x="12" y="11"/>
                    </a:moveTo>
                    <a:lnTo>
                      <a:pt x="35" y="11"/>
                    </a:lnTo>
                    <a:lnTo>
                      <a:pt x="35" y="34"/>
                    </a:lnTo>
                    <a:lnTo>
                      <a:pt x="12" y="34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87" name="Freeform 22">
                <a:extLst>
                  <a:ext uri="{FF2B5EF4-FFF2-40B4-BE49-F238E27FC236}">
                    <a16:creationId xmlns:a16="http://schemas.microsoft.com/office/drawing/2014/main" id="{490FD52F-1855-BEEE-2D38-853A5B7B7D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8638" y="3908425"/>
                <a:ext cx="73025" cy="73025"/>
              </a:xfrm>
              <a:custGeom>
                <a:avLst/>
                <a:gdLst>
                  <a:gd name="T0" fmla="*/ 0 w 46"/>
                  <a:gd name="T1" fmla="*/ 46 h 46"/>
                  <a:gd name="T2" fmla="*/ 46 w 46"/>
                  <a:gd name="T3" fmla="*/ 46 h 46"/>
                  <a:gd name="T4" fmla="*/ 46 w 46"/>
                  <a:gd name="T5" fmla="*/ 0 h 46"/>
                  <a:gd name="T6" fmla="*/ 0 w 46"/>
                  <a:gd name="T7" fmla="*/ 0 h 46"/>
                  <a:gd name="T8" fmla="*/ 0 w 46"/>
                  <a:gd name="T9" fmla="*/ 46 h 46"/>
                  <a:gd name="T10" fmla="*/ 12 w 46"/>
                  <a:gd name="T11" fmla="*/ 11 h 46"/>
                  <a:gd name="T12" fmla="*/ 35 w 46"/>
                  <a:gd name="T13" fmla="*/ 11 h 46"/>
                  <a:gd name="T14" fmla="*/ 35 w 46"/>
                  <a:gd name="T15" fmla="*/ 34 h 46"/>
                  <a:gd name="T16" fmla="*/ 12 w 46"/>
                  <a:gd name="T17" fmla="*/ 34 h 46"/>
                  <a:gd name="T18" fmla="*/ 12 w 46"/>
                  <a:gd name="T19" fmla="*/ 1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0" y="46"/>
                    </a:moveTo>
                    <a:lnTo>
                      <a:pt x="46" y="46"/>
                    </a:lnTo>
                    <a:lnTo>
                      <a:pt x="46" y="0"/>
                    </a:lnTo>
                    <a:lnTo>
                      <a:pt x="0" y="0"/>
                    </a:lnTo>
                    <a:lnTo>
                      <a:pt x="0" y="46"/>
                    </a:lnTo>
                    <a:close/>
                    <a:moveTo>
                      <a:pt x="12" y="11"/>
                    </a:moveTo>
                    <a:lnTo>
                      <a:pt x="35" y="11"/>
                    </a:lnTo>
                    <a:lnTo>
                      <a:pt x="35" y="34"/>
                    </a:lnTo>
                    <a:lnTo>
                      <a:pt x="12" y="34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88" name="Freeform 23">
                <a:extLst>
                  <a:ext uri="{FF2B5EF4-FFF2-40B4-BE49-F238E27FC236}">
                    <a16:creationId xmlns:a16="http://schemas.microsoft.com/office/drawing/2014/main" id="{EC3FB789-9750-F2CC-1BAE-164CD14599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8638" y="3816350"/>
                <a:ext cx="73025" cy="73025"/>
              </a:xfrm>
              <a:custGeom>
                <a:avLst/>
                <a:gdLst>
                  <a:gd name="T0" fmla="*/ 0 w 46"/>
                  <a:gd name="T1" fmla="*/ 0 h 46"/>
                  <a:gd name="T2" fmla="*/ 0 w 46"/>
                  <a:gd name="T3" fmla="*/ 46 h 46"/>
                  <a:gd name="T4" fmla="*/ 46 w 46"/>
                  <a:gd name="T5" fmla="*/ 46 h 46"/>
                  <a:gd name="T6" fmla="*/ 46 w 46"/>
                  <a:gd name="T7" fmla="*/ 0 h 46"/>
                  <a:gd name="T8" fmla="*/ 0 w 46"/>
                  <a:gd name="T9" fmla="*/ 0 h 46"/>
                  <a:gd name="T10" fmla="*/ 35 w 46"/>
                  <a:gd name="T11" fmla="*/ 35 h 46"/>
                  <a:gd name="T12" fmla="*/ 12 w 46"/>
                  <a:gd name="T13" fmla="*/ 35 h 46"/>
                  <a:gd name="T14" fmla="*/ 12 w 46"/>
                  <a:gd name="T15" fmla="*/ 12 h 46"/>
                  <a:gd name="T16" fmla="*/ 35 w 46"/>
                  <a:gd name="T17" fmla="*/ 12 h 46"/>
                  <a:gd name="T18" fmla="*/ 35 w 46"/>
                  <a:gd name="T19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46">
                    <a:moveTo>
                      <a:pt x="0" y="0"/>
                    </a:moveTo>
                    <a:lnTo>
                      <a:pt x="0" y="46"/>
                    </a:lnTo>
                    <a:lnTo>
                      <a:pt x="46" y="46"/>
                    </a:lnTo>
                    <a:lnTo>
                      <a:pt x="46" y="0"/>
                    </a:lnTo>
                    <a:lnTo>
                      <a:pt x="0" y="0"/>
                    </a:lnTo>
                    <a:close/>
                    <a:moveTo>
                      <a:pt x="35" y="35"/>
                    </a:moveTo>
                    <a:lnTo>
                      <a:pt x="12" y="35"/>
                    </a:lnTo>
                    <a:lnTo>
                      <a:pt x="12" y="12"/>
                    </a:lnTo>
                    <a:lnTo>
                      <a:pt x="35" y="12"/>
                    </a:lnTo>
                    <a:lnTo>
                      <a:pt x="3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89" name="Rectangle 24">
                <a:extLst>
                  <a:ext uri="{FF2B5EF4-FFF2-40B4-BE49-F238E27FC236}">
                    <a16:creationId xmlns:a16="http://schemas.microsoft.com/office/drawing/2014/main" id="{F9226FBC-BE0F-36F4-5D28-5EA0C75A3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5813" y="3779838"/>
                <a:ext cx="19050" cy="174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  <p:sp>
            <p:nvSpPr>
              <p:cNvPr id="590" name="Rectangle 25">
                <a:extLst>
                  <a:ext uri="{FF2B5EF4-FFF2-40B4-BE49-F238E27FC236}">
                    <a16:creationId xmlns:a16="http://schemas.microsoft.com/office/drawing/2014/main" id="{1C49AA92-F6F5-2557-CD01-A847C89B5E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86276" y="3779838"/>
                <a:ext cx="17463" cy="174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6012" tIns="48007" rIns="96012" bIns="4800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altLang="zh-CN" sz="1891" dirty="0"/>
              </a:p>
            </p:txBody>
          </p:sp>
        </p:grpSp>
        <p:sp>
          <p:nvSpPr>
            <p:cNvPr id="591" name="TextBox 590">
              <a:extLst>
                <a:ext uri="{FF2B5EF4-FFF2-40B4-BE49-F238E27FC236}">
                  <a16:creationId xmlns:a16="http://schemas.microsoft.com/office/drawing/2014/main" id="{94984955-C37C-6249-B2C5-FC1A1BB4CCF4}"/>
                </a:ext>
              </a:extLst>
            </p:cNvPr>
            <p:cNvSpPr txBox="1"/>
            <p:nvPr/>
          </p:nvSpPr>
          <p:spPr>
            <a:xfrm>
              <a:off x="5066979" y="5575353"/>
              <a:ext cx="86993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pt-BR" altLang="zh-CN" sz="1100" b="1" kern="0" dirty="0">
                  <a:solidFill>
                    <a:schemeClr val="tx1">
                      <a:lumMod val="100000"/>
                    </a:schemeClr>
                  </a:solidFill>
                  <a:cs typeface="Calibri" panose="020F0502020204030204" pitchFamily="34" charset="0"/>
                </a:rPr>
                <a:t>PSP Recebedor</a:t>
              </a:r>
            </a:p>
          </p:txBody>
        </p:sp>
        <p:sp>
          <p:nvSpPr>
            <p:cNvPr id="594" name="TextBox 593">
              <a:extLst>
                <a:ext uri="{FF2B5EF4-FFF2-40B4-BE49-F238E27FC236}">
                  <a16:creationId xmlns:a16="http://schemas.microsoft.com/office/drawing/2014/main" id="{6ACFB30F-5BEA-A528-B72E-B0299754BE11}"/>
                </a:ext>
              </a:extLst>
            </p:cNvPr>
            <p:cNvSpPr txBox="1"/>
            <p:nvPr/>
          </p:nvSpPr>
          <p:spPr>
            <a:xfrm>
              <a:off x="4466686" y="5151409"/>
              <a:ext cx="61555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Liquidação</a:t>
              </a:r>
            </a:p>
          </p:txBody>
        </p:sp>
        <p:sp>
          <p:nvSpPr>
            <p:cNvPr id="595" name="Oval 594">
              <a:extLst>
                <a:ext uri="{FF2B5EF4-FFF2-40B4-BE49-F238E27FC236}">
                  <a16:creationId xmlns:a16="http://schemas.microsoft.com/office/drawing/2014/main" id="{AC937BF9-C48F-99FF-A782-0F58B512B4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85752" y="5159527"/>
              <a:ext cx="147942" cy="147942"/>
            </a:xfrm>
            <a:prstGeom prst="ellipse">
              <a:avLst/>
            </a:prstGeom>
            <a:solidFill>
              <a:srgbClr val="49C1E0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pt-BR" sz="1000" b="1" kern="0" dirty="0">
                  <a:solidFill>
                    <a:schemeClr val="bg1"/>
                  </a:solidFill>
                </a:rPr>
                <a:t>4</a:t>
              </a:r>
            </a:p>
          </p:txBody>
        </p:sp>
        <p:cxnSp>
          <p:nvCxnSpPr>
            <p:cNvPr id="604" name="Straight Arrow Connector 603">
              <a:extLst>
                <a:ext uri="{FF2B5EF4-FFF2-40B4-BE49-F238E27FC236}">
                  <a16:creationId xmlns:a16="http://schemas.microsoft.com/office/drawing/2014/main" id="{671952E7-A960-76CE-7F39-E8A2412B3FA5}"/>
                </a:ext>
              </a:extLst>
            </p:cNvPr>
            <p:cNvCxnSpPr>
              <a:cxnSpLocks/>
              <a:stCxn id="551" idx="6"/>
              <a:endCxn id="579" idx="2"/>
            </p:cNvCxnSpPr>
            <p:nvPr/>
          </p:nvCxnSpPr>
          <p:spPr>
            <a:xfrm>
              <a:off x="4197939" y="5312851"/>
              <a:ext cx="1066830" cy="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4" name="Title 613">
            <a:extLst>
              <a:ext uri="{FF2B5EF4-FFF2-40B4-BE49-F238E27FC236}">
                <a16:creationId xmlns:a16="http://schemas.microsoft.com/office/drawing/2014/main" id="{4FC9ADAF-067F-2A7B-CE4E-09D7091D6A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Contexto</a:t>
            </a:r>
            <a:br>
              <a:rPr lang="pt-BR" dirty="0"/>
            </a:br>
            <a:r>
              <a:rPr lang="pt-BR" sz="14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en Finance é um sistema de comunicação direta entre instituições financeiras via APIs padronizadas, viabilizando o compartilhamento seguro de informações sobre clientes, produtos e serviços do SF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FE345B5-F216-3FB9-814F-7605C1B17D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solidFill>
            <a:schemeClr val="accent2"/>
          </a:solidFill>
        </p:spPr>
        <p:txBody>
          <a:bodyPr anchor="ctr"/>
          <a:lstStyle/>
          <a:p>
            <a:r>
              <a:rPr lang="pt-BR" dirty="0">
                <a:solidFill>
                  <a:schemeClr val="bg1"/>
                </a:solidFill>
              </a:rPr>
              <a:t> Características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CCA36D2-C992-2F11-2653-7970194417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7383696"/>
              </p:ext>
            </p:extLst>
          </p:nvPr>
        </p:nvGraphicFramePr>
        <p:xfrm>
          <a:off x="6329211" y="1889282"/>
          <a:ext cx="5410200" cy="4523212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755080">
                  <a:extLst>
                    <a:ext uri="{9D8B030D-6E8A-4147-A177-3AD203B41FA5}">
                      <a16:colId xmlns:a16="http://schemas.microsoft.com/office/drawing/2014/main" val="268367605"/>
                    </a:ext>
                  </a:extLst>
                </a:gridCol>
                <a:gridCol w="4655120">
                  <a:extLst>
                    <a:ext uri="{9D8B030D-6E8A-4147-A177-3AD203B41FA5}">
                      <a16:colId xmlns:a16="http://schemas.microsoft.com/office/drawing/2014/main" val="2406206818"/>
                    </a:ext>
                  </a:extLst>
                </a:gridCol>
              </a:tblGrid>
              <a:tr h="1130803">
                <a:tc>
                  <a:txBody>
                    <a:bodyPr/>
                    <a:lstStyle/>
                    <a:p>
                      <a:pPr algn="ctr"/>
                      <a:r>
                        <a:rPr lang="pt-BR" sz="4000" b="1" i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1.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Comunicação bilateral direta entre instituições </a:t>
                      </a:r>
                      <a:r>
                        <a:rPr lang="pt-BR" sz="1400" b="0" kern="0" dirty="0">
                          <a:solidFill>
                            <a:schemeClr val="tx1"/>
                          </a:solidFill>
                        </a:rPr>
                        <a:t>(P2P e descentralizado)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2060282"/>
                  </a:ext>
                </a:extLst>
              </a:tr>
              <a:tr h="1130803">
                <a:tc>
                  <a:txBody>
                    <a:bodyPr/>
                    <a:lstStyle/>
                    <a:p>
                      <a:pPr algn="ctr"/>
                      <a:r>
                        <a:rPr lang="pt-BR" sz="4000" b="1" i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2.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kern="0" dirty="0">
                          <a:solidFill>
                            <a:schemeClr val="tx1"/>
                          </a:solidFill>
                        </a:rPr>
                        <a:t>Pressupõe </a:t>
                      </a:r>
                      <a:r>
                        <a:rPr lang="pt-BR" sz="14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consentimento expresso, específico e explicito </a:t>
                      </a:r>
                      <a:r>
                        <a:rPr lang="pt-BR" sz="1400" b="0" kern="0" dirty="0">
                          <a:solidFill>
                            <a:schemeClr val="tx1"/>
                          </a:solidFill>
                        </a:rPr>
                        <a:t>do cliente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2407652"/>
                  </a:ext>
                </a:extLst>
              </a:tr>
              <a:tr h="1130803">
                <a:tc>
                  <a:txBody>
                    <a:bodyPr/>
                    <a:lstStyle/>
                    <a:p>
                      <a:pPr algn="ctr"/>
                      <a:r>
                        <a:rPr lang="pt-BR" sz="4000" b="1" i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3.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kern="0" dirty="0">
                          <a:solidFill>
                            <a:schemeClr val="tx1"/>
                          </a:solidFill>
                        </a:rPr>
                        <a:t>Há uma </a:t>
                      </a:r>
                      <a:r>
                        <a:rPr lang="pt-BR" sz="14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infraestrutura central para controle e registro operacional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1968665"/>
                  </a:ext>
                </a:extLst>
              </a:tr>
              <a:tr h="1130803">
                <a:tc>
                  <a:txBody>
                    <a:bodyPr/>
                    <a:lstStyle/>
                    <a:p>
                      <a:pPr algn="ctr"/>
                      <a:r>
                        <a:rPr lang="pt-BR" sz="4000" b="1" i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.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Padrões tecnológicos definidos por uma governança</a:t>
                      </a:r>
                      <a:r>
                        <a:rPr lang="pt-BR" sz="1400" b="0" kern="0" dirty="0">
                          <a:solidFill>
                            <a:schemeClr val="tx1"/>
                          </a:solidFill>
                        </a:rPr>
                        <a:t> de mercado e aprovados pelo BCB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2881327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D5463035-DC41-74D4-492A-F15CF6BE906D}"/>
              </a:ext>
            </a:extLst>
          </p:cNvPr>
          <p:cNvGrpSpPr/>
          <p:nvPr/>
        </p:nvGrpSpPr>
        <p:grpSpPr>
          <a:xfrm>
            <a:off x="6094792" y="1397000"/>
            <a:ext cx="136610" cy="5003064"/>
            <a:chOff x="4368800" y="1397000"/>
            <a:chExt cx="136610" cy="5003064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AA6DB0D-C044-E7EE-0C1C-A623010FEB5A}"/>
                </a:ext>
              </a:extLst>
            </p:cNvPr>
            <p:cNvCxnSpPr>
              <a:cxnSpLocks/>
            </p:cNvCxnSpPr>
            <p:nvPr/>
          </p:nvCxnSpPr>
          <p:spPr>
            <a:xfrm>
              <a:off x="4368800" y="1397000"/>
              <a:ext cx="0" cy="2366962"/>
            </a:xfrm>
            <a:prstGeom prst="line">
              <a:avLst/>
            </a:prstGeom>
            <a:ln w="19050">
              <a:solidFill>
                <a:schemeClr val="accent5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65CF691-43C8-BCA0-E138-DA3C0DEE41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0471" y="3763962"/>
              <a:ext cx="134939" cy="269876"/>
            </a:xfrm>
            <a:custGeom>
              <a:avLst/>
              <a:gdLst/>
              <a:ahLst/>
              <a:cxnLst/>
              <a:rect l="0" t="0" r="0" b="0"/>
              <a:pathLst>
                <a:path w="134939" h="269876">
                  <a:moveTo>
                    <a:pt x="67469" y="202406"/>
                  </a:moveTo>
                  <a:lnTo>
                    <a:pt x="0" y="269875"/>
                  </a:lnTo>
                  <a:lnTo>
                    <a:pt x="134938" y="134938"/>
                  </a:lnTo>
                  <a:lnTo>
                    <a:pt x="0" y="0"/>
                  </a:lnTo>
                  <a:lnTo>
                    <a:pt x="67469" y="67469"/>
                  </a:lnTo>
                </a:path>
              </a:pathLst>
            </a:custGeom>
            <a:ln w="19050">
              <a:solidFill>
                <a:schemeClr val="accent5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E5F2797-FBB5-4E1A-51A1-3860E2D0FDD8}"/>
                </a:ext>
              </a:extLst>
            </p:cNvPr>
            <p:cNvCxnSpPr>
              <a:cxnSpLocks/>
            </p:cNvCxnSpPr>
            <p:nvPr/>
          </p:nvCxnSpPr>
          <p:spPr>
            <a:xfrm>
              <a:off x="4368800" y="4033102"/>
              <a:ext cx="0" cy="2366962"/>
            </a:xfrm>
            <a:prstGeom prst="line">
              <a:avLst/>
            </a:prstGeom>
            <a:ln w="19050">
              <a:solidFill>
                <a:schemeClr val="accent5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64450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113968-C8DD-936A-132F-1DD21E4360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D769304-54F0-2396-5CEF-E4C88A4D2E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16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8" progId="TCLayout.ActiveDocument.1">
                  <p:embed/>
                </p:oleObj>
              </mc:Choice>
              <mc:Fallback>
                <p:oleObj name="think-cell Slide" r:id="rId4" imgW="426" imgH="42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769304-54F0-2396-5CEF-E4C88A4D2E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rapezoid 58">
            <a:extLst>
              <a:ext uri="{FF2B5EF4-FFF2-40B4-BE49-F238E27FC236}">
                <a16:creationId xmlns:a16="http://schemas.microsoft.com/office/drawing/2014/main" id="{51A98784-F497-E78B-FA59-E2B0D0BB38F2}"/>
              </a:ext>
            </a:extLst>
          </p:cNvPr>
          <p:cNvSpPr/>
          <p:nvPr/>
        </p:nvSpPr>
        <p:spPr>
          <a:xfrm rot="16200000">
            <a:off x="6075561" y="5640896"/>
            <a:ext cx="856836" cy="532573"/>
          </a:xfrm>
          <a:prstGeom prst="trapezoid">
            <a:avLst>
              <a:gd name="adj" fmla="val 276370"/>
            </a:avLst>
          </a:prstGeom>
          <a:gradFill>
            <a:gsLst>
              <a:gs pos="3000">
                <a:schemeClr val="accent1"/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noProof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Trapezoid 37">
            <a:extLst>
              <a:ext uri="{FF2B5EF4-FFF2-40B4-BE49-F238E27FC236}">
                <a16:creationId xmlns:a16="http://schemas.microsoft.com/office/drawing/2014/main" id="{84E3520B-10E0-4C9F-213C-17D459E17EDC}"/>
              </a:ext>
            </a:extLst>
          </p:cNvPr>
          <p:cNvSpPr/>
          <p:nvPr/>
        </p:nvSpPr>
        <p:spPr>
          <a:xfrm rot="16200000">
            <a:off x="5802405" y="4286316"/>
            <a:ext cx="1403147" cy="532575"/>
          </a:xfrm>
          <a:prstGeom prst="trapezoid">
            <a:avLst>
              <a:gd name="adj" fmla="val 276370"/>
            </a:avLst>
          </a:prstGeom>
          <a:gradFill>
            <a:gsLst>
              <a:gs pos="3000">
                <a:schemeClr val="accent2"/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noProof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8" name="Trapezoid 27">
            <a:extLst>
              <a:ext uri="{FF2B5EF4-FFF2-40B4-BE49-F238E27FC236}">
                <a16:creationId xmlns:a16="http://schemas.microsoft.com/office/drawing/2014/main" id="{83F9D6AC-E124-0185-BC4F-A5C3494140F5}"/>
              </a:ext>
            </a:extLst>
          </p:cNvPr>
          <p:cNvSpPr/>
          <p:nvPr/>
        </p:nvSpPr>
        <p:spPr>
          <a:xfrm rot="16200000">
            <a:off x="5556663" y="2448914"/>
            <a:ext cx="1894636" cy="532575"/>
          </a:xfrm>
          <a:prstGeom prst="trapezoid">
            <a:avLst>
              <a:gd name="adj" fmla="val 276370"/>
            </a:avLst>
          </a:prstGeom>
          <a:gradFill>
            <a:gsLst>
              <a:gs pos="3000">
                <a:schemeClr val="accent3"/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noProof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9" name="Trapezoid 78">
            <a:extLst>
              <a:ext uri="{FF2B5EF4-FFF2-40B4-BE49-F238E27FC236}">
                <a16:creationId xmlns:a16="http://schemas.microsoft.com/office/drawing/2014/main" id="{23DECEA9-D860-FBB8-B2C9-AE24E75FA923}"/>
              </a:ext>
            </a:extLst>
          </p:cNvPr>
          <p:cNvSpPr/>
          <p:nvPr/>
        </p:nvSpPr>
        <p:spPr>
          <a:xfrm>
            <a:off x="464026" y="5023788"/>
            <a:ext cx="2736282" cy="508383"/>
          </a:xfrm>
          <a:prstGeom prst="trapezoid">
            <a:avLst>
              <a:gd name="adj" fmla="val 16435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132D13FC-1D40-4404-5922-264931EE98D8}"/>
              </a:ext>
            </a:extLst>
          </p:cNvPr>
          <p:cNvSpPr/>
          <p:nvPr/>
        </p:nvSpPr>
        <p:spPr>
          <a:xfrm>
            <a:off x="457199" y="5346470"/>
            <a:ext cx="3454401" cy="724798"/>
          </a:xfrm>
          <a:prstGeom prst="roundRect">
            <a:avLst>
              <a:gd name="adj" fmla="val 9205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78" name="Trapezoid 77">
            <a:extLst>
              <a:ext uri="{FF2B5EF4-FFF2-40B4-BE49-F238E27FC236}">
                <a16:creationId xmlns:a16="http://schemas.microsoft.com/office/drawing/2014/main" id="{256AF4BA-B926-41CE-898C-59B8422304BA}"/>
              </a:ext>
            </a:extLst>
          </p:cNvPr>
          <p:cNvSpPr/>
          <p:nvPr/>
        </p:nvSpPr>
        <p:spPr>
          <a:xfrm>
            <a:off x="464026" y="2038956"/>
            <a:ext cx="2736282" cy="508383"/>
          </a:xfrm>
          <a:prstGeom prst="trapezoid">
            <a:avLst>
              <a:gd name="adj" fmla="val 16435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4310E87D-7E72-6D20-DA86-5E66EEE72BD5}"/>
              </a:ext>
            </a:extLst>
          </p:cNvPr>
          <p:cNvSpPr/>
          <p:nvPr/>
        </p:nvSpPr>
        <p:spPr>
          <a:xfrm>
            <a:off x="464026" y="2380795"/>
            <a:ext cx="3447574" cy="2278953"/>
          </a:xfrm>
          <a:prstGeom prst="roundRect">
            <a:avLst>
              <a:gd name="adj" fmla="val 9205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11" name="Footnote">
            <a:extLst>
              <a:ext uri="{FF2B5EF4-FFF2-40B4-BE49-F238E27FC236}">
                <a16:creationId xmlns:a16="http://schemas.microsoft.com/office/drawing/2014/main" id="{487F2B21-DE4D-C0BF-4755-B132D20D0467}"/>
              </a:ext>
            </a:extLst>
          </p:cNvPr>
          <p:cNvSpPr/>
          <p:nvPr/>
        </p:nvSpPr>
        <p:spPr>
          <a:xfrm>
            <a:off x="457200" y="6414036"/>
            <a:ext cx="1127760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pPr defTabSz="914370"/>
            <a:r>
              <a:rPr lang="pt-BR" sz="800" kern="0" dirty="0"/>
              <a:t>1. Dados de Setembro de 2025 | Fonte: Dashboard do Cidadão – Open Finance Brasi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2046244-3FEB-18DF-68A1-F02375980401}"/>
              </a:ext>
            </a:extLst>
          </p:cNvPr>
          <p:cNvSpPr txBox="1">
            <a:spLocks/>
          </p:cNvSpPr>
          <p:nvPr/>
        </p:nvSpPr>
        <p:spPr>
          <a:xfrm>
            <a:off x="1196697" y="3212839"/>
            <a:ext cx="293259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b="1" kern="0" dirty="0">
                <a:solidFill>
                  <a:schemeClr val="accent1"/>
                </a:solidFill>
                <a:latin typeface="+mj-lt"/>
              </a:rPr>
              <a:t>milhões</a:t>
            </a:r>
            <a:r>
              <a:rPr lang="pt-BR" sz="900" kern="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pt-BR" sz="1200" kern="0" dirty="0"/>
              <a:t>de consentimentos</a:t>
            </a:r>
            <a:endParaRPr lang="pt-BR" sz="1400" kern="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C35861C-CEC0-211B-AB7D-4BAE0CFB6331}"/>
              </a:ext>
            </a:extLst>
          </p:cNvPr>
          <p:cNvSpPr txBox="1">
            <a:spLocks/>
          </p:cNvSpPr>
          <p:nvPr/>
        </p:nvSpPr>
        <p:spPr>
          <a:xfrm>
            <a:off x="1195089" y="3700001"/>
            <a:ext cx="290333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b="1" kern="0" dirty="0">
                <a:solidFill>
                  <a:schemeClr val="accent1"/>
                </a:solidFill>
                <a:latin typeface="+mj-lt"/>
              </a:rPr>
              <a:t>bilhões</a:t>
            </a:r>
            <a:r>
              <a:rPr lang="pt-BR" sz="1600" b="1" kern="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pt-BR" sz="1200" kern="0" dirty="0"/>
              <a:t>de chamadas semanais</a:t>
            </a:r>
            <a:endParaRPr lang="pt-BR" sz="1400" kern="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AC1EFB4-41EF-D338-5D78-018B6E7BB815}"/>
              </a:ext>
            </a:extLst>
          </p:cNvPr>
          <p:cNvSpPr txBox="1"/>
          <p:nvPr/>
        </p:nvSpPr>
        <p:spPr>
          <a:xfrm>
            <a:off x="1199619" y="2688921"/>
            <a:ext cx="294900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b="1" kern="0" dirty="0">
                <a:solidFill>
                  <a:schemeClr val="accent1"/>
                </a:solidFill>
                <a:latin typeface="+mj-lt"/>
              </a:rPr>
              <a:t>milhões</a:t>
            </a:r>
            <a:r>
              <a:rPr lang="pt-BR" sz="900" kern="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pt-BR" sz="1200" kern="0" dirty="0"/>
              <a:t>de usuários</a:t>
            </a:r>
            <a:endParaRPr lang="pt-BR" sz="1400" kern="0" dirty="0"/>
          </a:p>
        </p:txBody>
      </p:sp>
      <p:sp>
        <p:nvSpPr>
          <p:cNvPr id="43" name="TextBox 11">
            <a:extLst>
              <a:ext uri="{FF2B5EF4-FFF2-40B4-BE49-F238E27FC236}">
                <a16:creationId xmlns:a16="http://schemas.microsoft.com/office/drawing/2014/main" id="{B013087E-37F6-E1AE-5A64-0BE66868EA98}"/>
              </a:ext>
            </a:extLst>
          </p:cNvPr>
          <p:cNvSpPr txBox="1">
            <a:spLocks/>
          </p:cNvSpPr>
          <p:nvPr/>
        </p:nvSpPr>
        <p:spPr>
          <a:xfrm>
            <a:off x="1180293" y="4181115"/>
            <a:ext cx="2949007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b="1" kern="0" dirty="0" err="1">
                <a:solidFill>
                  <a:schemeClr val="accent1"/>
                </a:solidFill>
                <a:latin typeface="+mj-lt"/>
              </a:rPr>
              <a:t>IFs</a:t>
            </a:r>
            <a:r>
              <a:rPr lang="pt-BR" sz="1400" b="1" kern="0" dirty="0">
                <a:solidFill>
                  <a:schemeClr val="accent1"/>
                </a:solidFill>
                <a:latin typeface="+mj-lt"/>
              </a:rPr>
              <a:t> / </a:t>
            </a:r>
            <a:r>
              <a:rPr lang="pt-BR" sz="1400" b="1" kern="0" dirty="0" err="1">
                <a:solidFill>
                  <a:schemeClr val="accent1"/>
                </a:solidFill>
                <a:latin typeface="+mj-lt"/>
              </a:rPr>
              <a:t>IPs</a:t>
            </a:r>
            <a:r>
              <a:rPr lang="pt-BR" sz="800" kern="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pt-BR" sz="1200" kern="0" dirty="0"/>
              <a:t>consumindo e transmitindo dados</a:t>
            </a:r>
            <a:endParaRPr lang="pt-BR" sz="1400" kern="0" dirty="0"/>
          </a:p>
        </p:txBody>
      </p:sp>
      <p:sp>
        <p:nvSpPr>
          <p:cNvPr id="45" name="TextBox 9">
            <a:extLst>
              <a:ext uri="{FF2B5EF4-FFF2-40B4-BE49-F238E27FC236}">
                <a16:creationId xmlns:a16="http://schemas.microsoft.com/office/drawing/2014/main" id="{8417797A-AE07-878D-6CE3-BA3CFB900A95}"/>
              </a:ext>
            </a:extLst>
          </p:cNvPr>
          <p:cNvSpPr txBox="1"/>
          <p:nvPr/>
        </p:nvSpPr>
        <p:spPr>
          <a:xfrm>
            <a:off x="596975" y="5081214"/>
            <a:ext cx="249456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b="1" kern="0" dirty="0">
                <a:solidFill>
                  <a:schemeClr val="accent1"/>
                </a:solidFill>
                <a:latin typeface="+mj-lt"/>
              </a:rPr>
              <a:t>INICIAÇÃO DE PAGAMENTOS</a:t>
            </a:r>
          </a:p>
        </p:txBody>
      </p:sp>
      <p:sp>
        <p:nvSpPr>
          <p:cNvPr id="46" name="TextBox 12">
            <a:extLst>
              <a:ext uri="{FF2B5EF4-FFF2-40B4-BE49-F238E27FC236}">
                <a16:creationId xmlns:a16="http://schemas.microsoft.com/office/drawing/2014/main" id="{1B72259C-8ECB-AF62-DAD6-EFEE12AA58EE}"/>
              </a:ext>
            </a:extLst>
          </p:cNvPr>
          <p:cNvSpPr txBox="1">
            <a:spLocks/>
          </p:cNvSpPr>
          <p:nvPr/>
        </p:nvSpPr>
        <p:spPr>
          <a:xfrm>
            <a:off x="1195089" y="5507912"/>
            <a:ext cx="271651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b="1" kern="0" dirty="0">
                <a:solidFill>
                  <a:schemeClr val="accent1"/>
                </a:solidFill>
                <a:latin typeface="+mj-lt"/>
              </a:rPr>
              <a:t>milhões</a:t>
            </a:r>
            <a:r>
              <a:rPr lang="pt-BR" sz="1600" b="1" kern="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pt-BR" sz="1100" kern="0" dirty="0"/>
              <a:t>iniciações de pagamento mensais</a:t>
            </a:r>
            <a:r>
              <a:rPr lang="pt-BR" sz="1100" kern="0" baseline="30000" dirty="0"/>
              <a:t>1</a:t>
            </a:r>
            <a:endParaRPr lang="pt-BR" sz="1200" kern="0" baseline="30000" dirty="0"/>
          </a:p>
        </p:txBody>
      </p:sp>
      <p:sp>
        <p:nvSpPr>
          <p:cNvPr id="44" name="TextBox 9">
            <a:extLst>
              <a:ext uri="{FF2B5EF4-FFF2-40B4-BE49-F238E27FC236}">
                <a16:creationId xmlns:a16="http://schemas.microsoft.com/office/drawing/2014/main" id="{CC981DD4-535C-6E9F-0C81-8337662DED81}"/>
              </a:ext>
            </a:extLst>
          </p:cNvPr>
          <p:cNvSpPr txBox="1"/>
          <p:nvPr/>
        </p:nvSpPr>
        <p:spPr>
          <a:xfrm>
            <a:off x="596975" y="2077187"/>
            <a:ext cx="253614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b="1" kern="0" dirty="0">
                <a:solidFill>
                  <a:schemeClr val="accent1"/>
                </a:solidFill>
                <a:latin typeface="+mj-lt"/>
              </a:rPr>
              <a:t>COMPARTILHAMENTO DE DADOS¹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C55B9D1-E2FB-D3BF-417A-76B0511CF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Evolução do ecossistema</a:t>
            </a:r>
            <a:br>
              <a:rPr lang="pt-BR" dirty="0"/>
            </a:br>
            <a:r>
              <a:rPr lang="pt-BR" sz="14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 ecossistema já apresenta volumes expressivos em compartilhamento de dados e crescimento relevante da iniciação de pagamentos, se valendo de um escopo abrangente de dados e múltiplas funcionalidades de serviços</a:t>
            </a:r>
          </a:p>
        </p:txBody>
      </p:sp>
      <p:sp>
        <p:nvSpPr>
          <p:cNvPr id="20" name="Numbered Circle">
            <a:extLst>
              <a:ext uri="{FF2B5EF4-FFF2-40B4-BE49-F238E27FC236}">
                <a16:creationId xmlns:a16="http://schemas.microsoft.com/office/drawing/2014/main" id="{F75DDB43-71C5-7C07-93D7-FCEFA9F1B00D}"/>
              </a:ext>
            </a:extLst>
          </p:cNvPr>
          <p:cNvSpPr>
            <a:spLocks noChangeAspect="1"/>
          </p:cNvSpPr>
          <p:nvPr/>
        </p:nvSpPr>
        <p:spPr>
          <a:xfrm>
            <a:off x="684371" y="2585086"/>
            <a:ext cx="399688" cy="399688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pt-BR" sz="1200" b="1" kern="0" dirty="0">
                <a:solidFill>
                  <a:schemeClr val="bg1"/>
                </a:solidFill>
                <a:latin typeface="+mj-lt"/>
              </a:rPr>
              <a:t>+71</a:t>
            </a:r>
          </a:p>
        </p:txBody>
      </p:sp>
      <p:sp>
        <p:nvSpPr>
          <p:cNvPr id="21" name="Numbered Circle">
            <a:extLst>
              <a:ext uri="{FF2B5EF4-FFF2-40B4-BE49-F238E27FC236}">
                <a16:creationId xmlns:a16="http://schemas.microsoft.com/office/drawing/2014/main" id="{92A88840-3B85-0DF3-0FF9-6EE88421D93A}"/>
              </a:ext>
            </a:extLst>
          </p:cNvPr>
          <p:cNvSpPr>
            <a:spLocks noChangeAspect="1"/>
          </p:cNvSpPr>
          <p:nvPr/>
        </p:nvSpPr>
        <p:spPr>
          <a:xfrm>
            <a:off x="684371" y="3106850"/>
            <a:ext cx="399688" cy="399688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pt-BR" sz="1200" b="1" kern="0" dirty="0">
                <a:solidFill>
                  <a:schemeClr val="bg1"/>
                </a:solidFill>
                <a:latin typeface="+mj-lt"/>
              </a:rPr>
              <a:t>+111</a:t>
            </a:r>
          </a:p>
        </p:txBody>
      </p:sp>
      <p:sp>
        <p:nvSpPr>
          <p:cNvPr id="22" name="Numbered Circle">
            <a:extLst>
              <a:ext uri="{FF2B5EF4-FFF2-40B4-BE49-F238E27FC236}">
                <a16:creationId xmlns:a16="http://schemas.microsoft.com/office/drawing/2014/main" id="{1EFED28A-1695-130D-AF95-4BE7E1F1077B}"/>
              </a:ext>
            </a:extLst>
          </p:cNvPr>
          <p:cNvSpPr>
            <a:spLocks noChangeAspect="1"/>
          </p:cNvSpPr>
          <p:nvPr/>
        </p:nvSpPr>
        <p:spPr>
          <a:xfrm>
            <a:off x="684371" y="3603953"/>
            <a:ext cx="399688" cy="399688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pt-BR" sz="1200" b="1" kern="0" dirty="0">
                <a:solidFill>
                  <a:schemeClr val="bg1"/>
                </a:solidFill>
                <a:latin typeface="+mj-lt"/>
              </a:rPr>
              <a:t>+4</a:t>
            </a:r>
          </a:p>
        </p:txBody>
      </p:sp>
      <p:sp>
        <p:nvSpPr>
          <p:cNvPr id="23" name="Numbered Circle">
            <a:extLst>
              <a:ext uri="{FF2B5EF4-FFF2-40B4-BE49-F238E27FC236}">
                <a16:creationId xmlns:a16="http://schemas.microsoft.com/office/drawing/2014/main" id="{FFBF35ED-18A0-FD9D-8B84-DFA19F3ACCA4}"/>
              </a:ext>
            </a:extLst>
          </p:cNvPr>
          <p:cNvSpPr>
            <a:spLocks noChangeAspect="1"/>
          </p:cNvSpPr>
          <p:nvPr/>
        </p:nvSpPr>
        <p:spPr>
          <a:xfrm>
            <a:off x="684371" y="4067771"/>
            <a:ext cx="399688" cy="399688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pt-BR" sz="1200" b="1" kern="0" dirty="0">
                <a:solidFill>
                  <a:schemeClr val="bg1"/>
                </a:solidFill>
                <a:latin typeface="+mj-lt"/>
              </a:rPr>
              <a:t>39</a:t>
            </a:r>
            <a:endParaRPr lang="pt-BR" sz="700" b="1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Numbered Circle">
            <a:extLst>
              <a:ext uri="{FF2B5EF4-FFF2-40B4-BE49-F238E27FC236}">
                <a16:creationId xmlns:a16="http://schemas.microsoft.com/office/drawing/2014/main" id="{160621AD-6A1D-78E1-280A-6F3531BDA6BC}"/>
              </a:ext>
            </a:extLst>
          </p:cNvPr>
          <p:cNvSpPr>
            <a:spLocks noChangeAspect="1"/>
          </p:cNvSpPr>
          <p:nvPr/>
        </p:nvSpPr>
        <p:spPr>
          <a:xfrm>
            <a:off x="682637" y="5515817"/>
            <a:ext cx="399688" cy="399688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pt-BR" sz="1200" b="1" kern="0" dirty="0">
                <a:solidFill>
                  <a:schemeClr val="bg1"/>
                </a:solidFill>
                <a:latin typeface="+mj-lt"/>
              </a:rPr>
              <a:t>+6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72C0376-8E3D-47E5-8B5E-29BAE0A25729}"/>
              </a:ext>
            </a:extLst>
          </p:cNvPr>
          <p:cNvSpPr/>
          <p:nvPr/>
        </p:nvSpPr>
        <p:spPr>
          <a:xfrm>
            <a:off x="4495923" y="2332393"/>
            <a:ext cx="1923359" cy="84319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400" b="1" kern="0" dirty="0">
                <a:solidFill>
                  <a:schemeClr val="bg1"/>
                </a:solidFill>
              </a:rPr>
              <a:t>Dado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38D3DB6D-F610-0428-AA0F-326002CFC31B}"/>
              </a:ext>
            </a:extLst>
          </p:cNvPr>
          <p:cNvSpPr/>
          <p:nvPr/>
        </p:nvSpPr>
        <p:spPr>
          <a:xfrm>
            <a:off x="6871864" y="1767884"/>
            <a:ext cx="2225963" cy="53825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3"/>
                </a:solidFill>
              </a:rPr>
              <a:t>Cadastrais</a:t>
            </a:r>
          </a:p>
          <a:p>
            <a:pPr algn="ctr"/>
            <a:r>
              <a:rPr lang="pt-BR" sz="1000" kern="0" dirty="0">
                <a:solidFill>
                  <a:schemeClr val="tx1"/>
                </a:solidFill>
              </a:rPr>
              <a:t>nome, endereço, CPF, e-mail, renda, profissão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24A6DDA1-0AFE-7E44-6348-93EECC136DA2}"/>
              </a:ext>
            </a:extLst>
          </p:cNvPr>
          <p:cNvSpPr/>
          <p:nvPr/>
        </p:nvSpPr>
        <p:spPr>
          <a:xfrm>
            <a:off x="9239762" y="1767884"/>
            <a:ext cx="2225963" cy="53825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3"/>
                </a:solidFill>
              </a:rPr>
              <a:t>Contas</a:t>
            </a:r>
          </a:p>
          <a:p>
            <a:pPr algn="ctr"/>
            <a:r>
              <a:rPr lang="pt-BR" sz="1000" kern="0" dirty="0">
                <a:solidFill>
                  <a:schemeClr val="tx1"/>
                </a:solidFill>
              </a:rPr>
              <a:t>tipo de conta, saldos, limite de cheque especial, transações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41A822AC-6768-2F14-96E3-49EB2B1BA6BA}"/>
              </a:ext>
            </a:extLst>
          </p:cNvPr>
          <p:cNvSpPr/>
          <p:nvPr/>
        </p:nvSpPr>
        <p:spPr>
          <a:xfrm>
            <a:off x="6871864" y="2484864"/>
            <a:ext cx="2225963" cy="53825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3"/>
                </a:solidFill>
              </a:rPr>
              <a:t>Cartões</a:t>
            </a:r>
          </a:p>
          <a:p>
            <a:pPr algn="ctr"/>
            <a:r>
              <a:rPr lang="pt-BR" sz="1000" kern="0" dirty="0">
                <a:solidFill>
                  <a:schemeClr val="tx1"/>
                </a:solidFill>
              </a:rPr>
              <a:t>transações, limites, faturas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DF57601-8527-9218-30F3-A5AF0B7A4AB4}"/>
              </a:ext>
            </a:extLst>
          </p:cNvPr>
          <p:cNvSpPr/>
          <p:nvPr/>
        </p:nvSpPr>
        <p:spPr>
          <a:xfrm>
            <a:off x="9286284" y="2480495"/>
            <a:ext cx="2225963" cy="53825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3"/>
                </a:solidFill>
              </a:rPr>
              <a:t>Empréstimos</a:t>
            </a:r>
          </a:p>
          <a:p>
            <a:pPr algn="ctr"/>
            <a:r>
              <a:rPr lang="pt-BR" sz="1000" kern="0" dirty="0">
                <a:solidFill>
                  <a:schemeClr val="tx1"/>
                </a:solidFill>
              </a:rPr>
              <a:t>modalidade, datas, taxa de juros,    # parcelas, garantias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D773C860-139D-2031-6485-6C08B69EE834}"/>
              </a:ext>
            </a:extLst>
          </p:cNvPr>
          <p:cNvSpPr/>
          <p:nvPr/>
        </p:nvSpPr>
        <p:spPr>
          <a:xfrm>
            <a:off x="6871864" y="3124266"/>
            <a:ext cx="2225963" cy="53825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3"/>
                </a:solidFill>
              </a:rPr>
              <a:t>Investimentos</a:t>
            </a:r>
          </a:p>
          <a:p>
            <a:pPr algn="ctr"/>
            <a:r>
              <a:rPr lang="pt-BR" sz="1000" kern="0" dirty="0">
                <a:solidFill>
                  <a:schemeClr val="tx1"/>
                </a:solidFill>
              </a:rPr>
              <a:t>classe, datas, remuneração, aportes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E1AB585A-053F-EF26-CD3B-759A55561636}"/>
              </a:ext>
            </a:extLst>
          </p:cNvPr>
          <p:cNvSpPr/>
          <p:nvPr/>
        </p:nvSpPr>
        <p:spPr>
          <a:xfrm>
            <a:off x="9286283" y="3124266"/>
            <a:ext cx="2225963" cy="53825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3"/>
                </a:solidFill>
              </a:rPr>
              <a:t>Câmbio</a:t>
            </a:r>
          </a:p>
          <a:p>
            <a:pPr algn="ctr"/>
            <a:r>
              <a:rPr lang="pt-BR" sz="1000" kern="0" dirty="0">
                <a:solidFill>
                  <a:schemeClr val="tx1"/>
                </a:solidFill>
              </a:rPr>
              <a:t>datas, taxa de câmbio, saldo a liquidar, % antecipado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40E5FA-D3C5-11CA-6EC0-90337F535EA3}"/>
              </a:ext>
            </a:extLst>
          </p:cNvPr>
          <p:cNvSpPr/>
          <p:nvPr/>
        </p:nvSpPr>
        <p:spPr>
          <a:xfrm>
            <a:off x="4495923" y="4126232"/>
            <a:ext cx="1923359" cy="843197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400" b="1" kern="0" dirty="0">
                <a:solidFill>
                  <a:schemeClr val="bg1"/>
                </a:solidFill>
              </a:rPr>
              <a:t>Iniciação de Pagamento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593141DE-7295-F400-01E8-66F88A0E53B7}"/>
              </a:ext>
            </a:extLst>
          </p:cNvPr>
          <p:cNvSpPr/>
          <p:nvPr/>
        </p:nvSpPr>
        <p:spPr>
          <a:xfrm>
            <a:off x="6907467" y="3851032"/>
            <a:ext cx="1932504" cy="38666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2"/>
                </a:solidFill>
              </a:rPr>
              <a:t>Iniciação Única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E06648F6-1D5A-7949-A514-E33DEE53984F}"/>
              </a:ext>
            </a:extLst>
          </p:cNvPr>
          <p:cNvSpPr/>
          <p:nvPr/>
        </p:nvSpPr>
        <p:spPr>
          <a:xfrm>
            <a:off x="8911787" y="4355613"/>
            <a:ext cx="2600459" cy="38666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2"/>
                </a:solidFill>
              </a:rPr>
              <a:t>Transferências Inteligentes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749D4C0F-658A-17E4-4DD8-31522970F7B9}"/>
              </a:ext>
            </a:extLst>
          </p:cNvPr>
          <p:cNvSpPr/>
          <p:nvPr/>
        </p:nvSpPr>
        <p:spPr>
          <a:xfrm>
            <a:off x="8915207" y="3851032"/>
            <a:ext cx="2597039" cy="38666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2"/>
                </a:solidFill>
              </a:rPr>
              <a:t>Agendamento Recorrente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606D41D0-A61A-EDCF-F68C-562A19017692}"/>
              </a:ext>
            </a:extLst>
          </p:cNvPr>
          <p:cNvSpPr/>
          <p:nvPr/>
        </p:nvSpPr>
        <p:spPr>
          <a:xfrm>
            <a:off x="6907467" y="4825357"/>
            <a:ext cx="3039243" cy="38666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2"/>
                </a:solidFill>
              </a:rPr>
              <a:t>Jornada Sem Redirecionamento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823994FA-4D38-6363-EC0E-3AA82756D75E}"/>
              </a:ext>
            </a:extLst>
          </p:cNvPr>
          <p:cNvSpPr/>
          <p:nvPr/>
        </p:nvSpPr>
        <p:spPr>
          <a:xfrm>
            <a:off x="6907467" y="4340748"/>
            <a:ext cx="1932503" cy="38666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2"/>
                </a:solidFill>
              </a:rPr>
              <a:t>Pix Automático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0A85A75-2167-A106-5A49-5AF29EA7F1A1}"/>
              </a:ext>
            </a:extLst>
          </p:cNvPr>
          <p:cNvSpPr/>
          <p:nvPr/>
        </p:nvSpPr>
        <p:spPr>
          <a:xfrm>
            <a:off x="4495923" y="5673836"/>
            <a:ext cx="1923359" cy="43652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400" kern="0" dirty="0">
                <a:solidFill>
                  <a:schemeClr val="bg1"/>
                </a:solidFill>
              </a:rPr>
              <a:t>Outros Serviços </a:t>
            </a:r>
          </a:p>
          <a:p>
            <a:pPr algn="ctr"/>
            <a:r>
              <a:rPr lang="pt-BR" sz="1000" kern="0" dirty="0">
                <a:solidFill>
                  <a:schemeClr val="bg1"/>
                </a:solidFill>
              </a:rPr>
              <a:t>(em desenvolvimento)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774F6423-7790-7FE6-D9DE-28E7A96EB35F}"/>
              </a:ext>
            </a:extLst>
          </p:cNvPr>
          <p:cNvSpPr/>
          <p:nvPr/>
        </p:nvSpPr>
        <p:spPr>
          <a:xfrm>
            <a:off x="6870656" y="5478765"/>
            <a:ext cx="4686897" cy="38666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1"/>
                </a:solidFill>
              </a:rPr>
              <a:t>Portabilidade de Crédito Pessoal (CPC)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EB70AE0A-C422-62C4-F5E0-DFBDE8CD50E2}"/>
              </a:ext>
            </a:extLst>
          </p:cNvPr>
          <p:cNvSpPr/>
          <p:nvPr/>
        </p:nvSpPr>
        <p:spPr>
          <a:xfrm>
            <a:off x="6870657" y="5903551"/>
            <a:ext cx="4686898" cy="38666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accent1"/>
                </a:solidFill>
              </a:rPr>
              <a:t>Portabilidade de Crédito Consignado Federal (SIAPE)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3E97A6D9-A826-CE97-8FAF-77616E122F6A}"/>
              </a:ext>
            </a:extLst>
          </p:cNvPr>
          <p:cNvCxnSpPr>
            <a:cxnSpLocks/>
          </p:cNvCxnSpPr>
          <p:nvPr/>
        </p:nvCxnSpPr>
        <p:spPr>
          <a:xfrm>
            <a:off x="6801272" y="1767884"/>
            <a:ext cx="0" cy="1894637"/>
          </a:xfrm>
          <a:prstGeom prst="line">
            <a:avLst/>
          </a:prstGeom>
          <a:ln w="19050">
            <a:solidFill>
              <a:schemeClr val="accent3">
                <a:lumMod val="60000"/>
                <a:lumOff val="40000"/>
              </a:schemeClr>
            </a:solidFill>
            <a:prstDash val="lg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70A37CA-2DD4-91F4-0B73-66F3F96B0112}"/>
              </a:ext>
            </a:extLst>
          </p:cNvPr>
          <p:cNvCxnSpPr>
            <a:cxnSpLocks/>
          </p:cNvCxnSpPr>
          <p:nvPr/>
        </p:nvCxnSpPr>
        <p:spPr>
          <a:xfrm>
            <a:off x="6801272" y="3851032"/>
            <a:ext cx="0" cy="1403145"/>
          </a:xfrm>
          <a:prstGeom prst="line">
            <a:avLst/>
          </a:prstGeom>
          <a:ln w="19050">
            <a:solidFill>
              <a:schemeClr val="accent2"/>
            </a:solidFill>
            <a:prstDash val="lg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3BD258D-0868-D2C3-D8A3-92A30B8E7473}"/>
              </a:ext>
            </a:extLst>
          </p:cNvPr>
          <p:cNvCxnSpPr>
            <a:cxnSpLocks/>
          </p:cNvCxnSpPr>
          <p:nvPr/>
        </p:nvCxnSpPr>
        <p:spPr>
          <a:xfrm>
            <a:off x="6813808" y="5478765"/>
            <a:ext cx="0" cy="835670"/>
          </a:xfrm>
          <a:prstGeom prst="line">
            <a:avLst/>
          </a:prstGeom>
          <a:ln w="19050">
            <a:solidFill>
              <a:schemeClr val="accent1"/>
            </a:solidFill>
            <a:prstDash val="lg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FD3AA27-67CB-7566-201B-72038FA4FD96}"/>
              </a:ext>
            </a:extLst>
          </p:cNvPr>
          <p:cNvGrpSpPr/>
          <p:nvPr/>
        </p:nvGrpSpPr>
        <p:grpSpPr>
          <a:xfrm>
            <a:off x="4134621" y="1397000"/>
            <a:ext cx="136610" cy="5003064"/>
            <a:chOff x="4368800" y="1397000"/>
            <a:chExt cx="136610" cy="5003064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3572D9F2-F023-8002-2013-30DD387115B8}"/>
                </a:ext>
              </a:extLst>
            </p:cNvPr>
            <p:cNvCxnSpPr>
              <a:cxnSpLocks/>
            </p:cNvCxnSpPr>
            <p:nvPr/>
          </p:nvCxnSpPr>
          <p:spPr>
            <a:xfrm>
              <a:off x="4368800" y="1397000"/>
              <a:ext cx="0" cy="2366962"/>
            </a:xfrm>
            <a:prstGeom prst="line">
              <a:avLst/>
            </a:prstGeom>
            <a:ln w="19050">
              <a:solidFill>
                <a:schemeClr val="accent5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8B445A1-2204-5247-2E5F-BA524FC367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0471" y="3763962"/>
              <a:ext cx="134939" cy="269876"/>
            </a:xfrm>
            <a:custGeom>
              <a:avLst/>
              <a:gdLst/>
              <a:ahLst/>
              <a:cxnLst/>
              <a:rect l="0" t="0" r="0" b="0"/>
              <a:pathLst>
                <a:path w="134939" h="269876">
                  <a:moveTo>
                    <a:pt x="67469" y="202406"/>
                  </a:moveTo>
                  <a:lnTo>
                    <a:pt x="0" y="269875"/>
                  </a:lnTo>
                  <a:lnTo>
                    <a:pt x="134938" y="134938"/>
                  </a:lnTo>
                  <a:lnTo>
                    <a:pt x="0" y="0"/>
                  </a:lnTo>
                  <a:lnTo>
                    <a:pt x="67469" y="67469"/>
                  </a:lnTo>
                </a:path>
              </a:pathLst>
            </a:custGeom>
            <a:ln w="19050">
              <a:solidFill>
                <a:schemeClr val="accent5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F63F9A3-6E65-445C-77CB-0E46A5B5F917}"/>
                </a:ext>
              </a:extLst>
            </p:cNvPr>
            <p:cNvCxnSpPr>
              <a:cxnSpLocks/>
            </p:cNvCxnSpPr>
            <p:nvPr/>
          </p:nvCxnSpPr>
          <p:spPr>
            <a:xfrm>
              <a:off x="4368800" y="4033102"/>
              <a:ext cx="0" cy="2366962"/>
            </a:xfrm>
            <a:prstGeom prst="line">
              <a:avLst/>
            </a:prstGeom>
            <a:ln w="19050">
              <a:solidFill>
                <a:schemeClr val="accent5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E11D0FE1-B2E7-751D-DC8E-6134BC560A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68801" y="1399032"/>
            <a:ext cx="7365998" cy="429768"/>
          </a:xfrm>
        </p:spPr>
        <p:txBody>
          <a:bodyPr anchor="ctr"/>
          <a:lstStyle/>
          <a:p>
            <a:r>
              <a:rPr lang="pt-BR" sz="1600" dirty="0"/>
              <a:t>Escopo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900C9132-A6B9-3360-3593-9C85025D354F}"/>
              </a:ext>
            </a:extLst>
          </p:cNvPr>
          <p:cNvSpPr txBox="1">
            <a:spLocks/>
          </p:cNvSpPr>
          <p:nvPr/>
        </p:nvSpPr>
        <p:spPr>
          <a:xfrm>
            <a:off x="457199" y="1399032"/>
            <a:ext cx="3454401" cy="4297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b="1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0" rtl="0" eaLnBrk="1" latinLnBrk="0" hangingPunct="1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0" rtl="0" eaLnBrk="1" latinLnBrk="0" hangingPunct="1">
              <a:spcBef>
                <a:spcPts val="0"/>
              </a:spcBef>
              <a:buFont typeface="Arial" panose="020B0604020202020204" pitchFamily="34" charset="0"/>
              <a:buChar char="​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Volumetria</a:t>
            </a:r>
          </a:p>
        </p:txBody>
      </p:sp>
    </p:spTree>
    <p:extLst>
      <p:ext uri="{BB962C8B-B14F-4D97-AF65-F5344CB8AC3E}">
        <p14:creationId xmlns:p14="http://schemas.microsoft.com/office/powerpoint/2010/main" val="374154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838EE7F-1AB6-6DA5-A3F2-F03DFE21AE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428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38EE7F-1AB6-6DA5-A3F2-F03DFE21AE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476F55B-853B-41A8-AD2E-CF569F03796D}"/>
              </a:ext>
            </a:extLst>
          </p:cNvPr>
          <p:cNvCxnSpPr>
            <a:cxnSpLocks/>
          </p:cNvCxnSpPr>
          <p:nvPr/>
        </p:nvCxnSpPr>
        <p:spPr>
          <a:xfrm>
            <a:off x="1383584" y="1397000"/>
            <a:ext cx="0" cy="503872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6AA8762-D433-4A35-A8DD-63D2A4FC3F75}"/>
              </a:ext>
            </a:extLst>
          </p:cNvPr>
          <p:cNvGrpSpPr/>
          <p:nvPr/>
        </p:nvGrpSpPr>
        <p:grpSpPr>
          <a:xfrm>
            <a:off x="2323360" y="2187836"/>
            <a:ext cx="9411439" cy="932023"/>
            <a:chOff x="1500103" y="2407107"/>
            <a:chExt cx="10380154" cy="932023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1AAB77C-5C45-4ADB-A177-F63D95CC9534}"/>
                </a:ext>
              </a:extLst>
            </p:cNvPr>
            <p:cNvSpPr txBox="1"/>
            <p:nvPr/>
          </p:nvSpPr>
          <p:spPr>
            <a:xfrm>
              <a:off x="1500103" y="2407107"/>
              <a:ext cx="83272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400" b="1" dirty="0"/>
                <a:t>Fomento</a:t>
              </a:r>
              <a:endParaRPr lang="pt-BR" sz="1400" b="1" kern="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37935C4-7C77-4E5A-B1AE-20CDBC5A6AC0}"/>
                </a:ext>
              </a:extLst>
            </p:cNvPr>
            <p:cNvSpPr txBox="1">
              <a:spLocks/>
            </p:cNvSpPr>
            <p:nvPr/>
          </p:nvSpPr>
          <p:spPr>
            <a:xfrm>
              <a:off x="1535411" y="2658399"/>
              <a:ext cx="10344846" cy="6807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45720" tIns="45720" rIns="45720" bIns="45720" rtlCol="0" anchor="t">
              <a:noAutofit/>
            </a:bodyPr>
            <a:lstStyle/>
            <a:p>
              <a:pPr marL="171450" indent="-171450">
                <a:spcBef>
                  <a:spcPts val="3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pt-BR" sz="1200" b="1" kern="0" dirty="0">
                  <a:solidFill>
                    <a:schemeClr val="accent3"/>
                  </a:solidFill>
                </a:rPr>
                <a:t>Coordenação com associações de mercado </a:t>
              </a:r>
              <a:r>
                <a:rPr lang="pt-BR" sz="1200" kern="0" dirty="0">
                  <a:solidFill>
                    <a:schemeClr val="tx1"/>
                  </a:solidFill>
                </a:rPr>
                <a:t>para </a:t>
              </a:r>
              <a:r>
                <a:rPr lang="pt-BR" sz="1200" kern="0" dirty="0"/>
                <a:t>discussão e esclarecimentos sobre o ecossistema</a:t>
              </a:r>
            </a:p>
            <a:p>
              <a:pPr marL="171450" indent="-171450">
                <a:spcBef>
                  <a:spcPts val="3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pt-BR" sz="1200" b="1" kern="0" dirty="0">
                  <a:solidFill>
                    <a:schemeClr val="accent3"/>
                  </a:solidFill>
                </a:rPr>
                <a:t>Criação de propostas técnicas </a:t>
              </a:r>
              <a:r>
                <a:rPr lang="pt-BR" sz="1200" kern="0" dirty="0">
                  <a:solidFill>
                    <a:schemeClr val="tx1"/>
                  </a:solidFill>
                </a:rPr>
                <a:t>para o BCB </a:t>
              </a:r>
              <a:r>
                <a:rPr lang="pt-BR" sz="1200" kern="0" dirty="0"/>
                <a:t>sobre escopo de dados, investimento necessário, experiência do cliente e disputas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8AAA3D0-5098-4978-848B-7D9D97330662}"/>
              </a:ext>
            </a:extLst>
          </p:cNvPr>
          <p:cNvGrpSpPr/>
          <p:nvPr/>
        </p:nvGrpSpPr>
        <p:grpSpPr>
          <a:xfrm>
            <a:off x="513077" y="2138707"/>
            <a:ext cx="937543" cy="307777"/>
            <a:chOff x="352778" y="2425712"/>
            <a:chExt cx="937543" cy="307777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5DD3748-DDFA-4DA7-9B5A-6DD112943386}"/>
                </a:ext>
              </a:extLst>
            </p:cNvPr>
            <p:cNvSpPr txBox="1"/>
            <p:nvPr/>
          </p:nvSpPr>
          <p:spPr>
            <a:xfrm>
              <a:off x="352778" y="2425712"/>
              <a:ext cx="570670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pt-BR" sz="2000" b="1" kern="0" dirty="0"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2019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4B0D8A6-DB0C-4CF3-B49F-798904AE78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6250" y="2512565"/>
              <a:ext cx="134071" cy="134071"/>
            </a:xfrm>
            <a:prstGeom prst="ellipse">
              <a:avLst/>
            </a:prstGeom>
            <a:solidFill>
              <a:schemeClr val="tx1"/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pt-BR" sz="1050" kern="0" dirty="0">
                <a:solidFill>
                  <a:schemeClr val="tx1"/>
                </a:solidFill>
                <a:sym typeface="+mn-lt"/>
              </a:endParaRPr>
            </a:p>
          </p:txBody>
        </p:sp>
      </p:grpSp>
      <p:pic>
        <p:nvPicPr>
          <p:cNvPr id="37" name="ico-cocreation">
            <a:extLst>
              <a:ext uri="{FF2B5EF4-FFF2-40B4-BE49-F238E27FC236}">
                <a16:creationId xmlns:a16="http://schemas.microsoft.com/office/drawing/2014/main" id="{9D5B5BAB-C1F2-4A30-91B0-609499DF70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05393" y="2141575"/>
            <a:ext cx="411480" cy="411480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7C85A8E0-72FA-4295-9877-71D8B59143FA}"/>
              </a:ext>
            </a:extLst>
          </p:cNvPr>
          <p:cNvGrpSpPr/>
          <p:nvPr/>
        </p:nvGrpSpPr>
        <p:grpSpPr>
          <a:xfrm>
            <a:off x="2323359" y="1354857"/>
            <a:ext cx="9411441" cy="698943"/>
            <a:chOff x="1500103" y="1488948"/>
            <a:chExt cx="10266443" cy="698943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6CF9F67-5A51-4C61-B2AB-423196F3CD9A}"/>
                </a:ext>
              </a:extLst>
            </p:cNvPr>
            <p:cNvSpPr txBox="1"/>
            <p:nvPr/>
          </p:nvSpPr>
          <p:spPr>
            <a:xfrm>
              <a:off x="1500103" y="1488948"/>
              <a:ext cx="104043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400" b="1" dirty="0"/>
                <a:t>Idealização</a:t>
              </a:r>
              <a:endParaRPr lang="pt-BR" sz="1400" b="1" kern="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99A4C55-F84C-4209-AE9E-6CAE1D3804B7}"/>
                </a:ext>
              </a:extLst>
            </p:cNvPr>
            <p:cNvSpPr txBox="1">
              <a:spLocks/>
            </p:cNvSpPr>
            <p:nvPr/>
          </p:nvSpPr>
          <p:spPr>
            <a:xfrm>
              <a:off x="1535411" y="1740241"/>
              <a:ext cx="10231135" cy="44765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45720" tIns="45720" rIns="45720" bIns="45720" rtlCol="0" anchor="t">
              <a:noAutofit/>
            </a:bodyPr>
            <a:lstStyle/>
            <a:p>
              <a:pPr marL="179994" indent="-179994"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pt-BR" sz="1200" kern="0" dirty="0"/>
                <a:t>Elaboração de </a:t>
              </a:r>
              <a:r>
                <a:rPr lang="pt-BR" sz="1200" b="1" kern="0" dirty="0">
                  <a:solidFill>
                    <a:schemeClr val="accent3"/>
                  </a:solidFill>
                </a:rPr>
                <a:t>propostas sobre os principais elementos de regulação </a:t>
              </a:r>
              <a:r>
                <a:rPr lang="pt-BR" sz="1200" kern="0" dirty="0">
                  <a:solidFill>
                    <a:schemeClr val="tx1"/>
                  </a:solidFill>
                </a:rPr>
                <a:t>do Open Finance</a:t>
              </a:r>
              <a:r>
                <a:rPr lang="pt-BR" sz="1200" kern="0" dirty="0"/>
                <a:t>, com recomendações baseadas na experiência observada no Reino Unido</a:t>
              </a:r>
              <a:r>
                <a:rPr lang="pt-BR" sz="1200" b="1" kern="0" dirty="0"/>
                <a:t> </a:t>
              </a:r>
              <a:r>
                <a:rPr lang="pt-BR" sz="1200" kern="0" dirty="0"/>
                <a:t>e necessidades do mercado brasileiro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B4E7504-764C-4C20-AEB3-BAEAFB9FBEA4}"/>
              </a:ext>
            </a:extLst>
          </p:cNvPr>
          <p:cNvGrpSpPr/>
          <p:nvPr/>
        </p:nvGrpSpPr>
        <p:grpSpPr>
          <a:xfrm>
            <a:off x="513077" y="1375174"/>
            <a:ext cx="937543" cy="307777"/>
            <a:chOff x="352778" y="1454072"/>
            <a:chExt cx="937543" cy="307777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BEE3CA1-D805-4CE9-AFD9-35E499238C1D}"/>
                </a:ext>
              </a:extLst>
            </p:cNvPr>
            <p:cNvSpPr txBox="1"/>
            <p:nvPr/>
          </p:nvSpPr>
          <p:spPr>
            <a:xfrm>
              <a:off x="352778" y="1454072"/>
              <a:ext cx="570670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pt-BR" sz="2000" b="1" kern="0" dirty="0"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2018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0DD02EC-C915-4419-A4A1-14B8A40D52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6250" y="1540925"/>
              <a:ext cx="134071" cy="134071"/>
            </a:xfrm>
            <a:prstGeom prst="ellipse">
              <a:avLst/>
            </a:prstGeom>
            <a:solidFill>
              <a:schemeClr val="tx1"/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pt-BR" sz="1050" kern="0" dirty="0">
                <a:solidFill>
                  <a:schemeClr val="tx1"/>
                </a:solidFill>
                <a:sym typeface="+mn-lt"/>
              </a:endParaRPr>
            </a:p>
          </p:txBody>
        </p:sp>
      </p:grpSp>
      <p:pic>
        <p:nvPicPr>
          <p:cNvPr id="46" name="ico-bulb-63">
            <a:extLst>
              <a:ext uri="{FF2B5EF4-FFF2-40B4-BE49-F238E27FC236}">
                <a16:creationId xmlns:a16="http://schemas.microsoft.com/office/drawing/2014/main" id="{59B5EBDF-76FA-49AF-B32E-BC5B526DE6C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05393" y="1321827"/>
            <a:ext cx="411480" cy="411480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782E98EF-33E5-4371-BAA2-427C2B6AF2C5}"/>
              </a:ext>
            </a:extLst>
          </p:cNvPr>
          <p:cNvGrpSpPr/>
          <p:nvPr/>
        </p:nvGrpSpPr>
        <p:grpSpPr>
          <a:xfrm>
            <a:off x="2323361" y="3182400"/>
            <a:ext cx="9411444" cy="932023"/>
            <a:chOff x="1500103" y="2407107"/>
            <a:chExt cx="10266443" cy="932023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0580E8-A616-453C-8877-67E9757C9C74}"/>
                </a:ext>
              </a:extLst>
            </p:cNvPr>
            <p:cNvSpPr txBox="1"/>
            <p:nvPr/>
          </p:nvSpPr>
          <p:spPr>
            <a:xfrm>
              <a:off x="1500103" y="2407107"/>
              <a:ext cx="105092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400" b="1" dirty="0"/>
                <a:t>Concepção</a:t>
              </a:r>
              <a:endParaRPr lang="pt-BR" sz="1400" b="1" kern="0" dirty="0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592316D-6EDE-4070-87AB-660D9EE618BD}"/>
                </a:ext>
              </a:extLst>
            </p:cNvPr>
            <p:cNvSpPr txBox="1">
              <a:spLocks/>
            </p:cNvSpPr>
            <p:nvPr/>
          </p:nvSpPr>
          <p:spPr>
            <a:xfrm>
              <a:off x="1535411" y="2658399"/>
              <a:ext cx="10231135" cy="6807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45720" tIns="45720" rIns="45720" bIns="45720" rtlCol="0" anchor="t">
              <a:noAutofit/>
            </a:bodyPr>
            <a:lstStyle/>
            <a:p>
              <a:pPr marL="171450" indent="-171450">
                <a:spcBef>
                  <a:spcPts val="3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pt-BR" sz="1200" b="1" kern="0" dirty="0">
                  <a:solidFill>
                    <a:schemeClr val="accent3"/>
                  </a:solidFill>
                </a:rPr>
                <a:t>Rodadas de nivelamento sobre Open Finance </a:t>
              </a:r>
              <a:r>
                <a:rPr lang="pt-BR" sz="1200" kern="0" dirty="0"/>
                <a:t>entre associações, incluindo detalhamento da Resolução Conjunta nº 1</a:t>
              </a:r>
            </a:p>
            <a:p>
              <a:pPr marL="171450" indent="-171450">
                <a:spcBef>
                  <a:spcPts val="3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pt-BR" sz="1200" b="1" dirty="0">
                  <a:solidFill>
                    <a:schemeClr val="accent3"/>
                  </a:solidFill>
                </a:rPr>
                <a:t>Liderança na criação da Governança Inicial, incluindo condução temporária do secretariado</a:t>
              </a:r>
              <a:endParaRPr lang="pt-BR" sz="1200" dirty="0"/>
            </a:p>
            <a:p>
              <a:pPr marL="171450" indent="-171450">
                <a:spcBef>
                  <a:spcPts val="3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pt-BR" sz="1200" b="1" kern="0" dirty="0">
                  <a:solidFill>
                    <a:schemeClr val="accent3"/>
                  </a:solidFill>
                </a:rPr>
                <a:t>Elaboração das </a:t>
              </a:r>
              <a:r>
                <a:rPr lang="pt-BR" sz="1200" b="1" dirty="0">
                  <a:solidFill>
                    <a:schemeClr val="accent3"/>
                  </a:solidFill>
                </a:rPr>
                <a:t>especificações técnicas</a:t>
              </a:r>
              <a:r>
                <a:rPr lang="pt-BR" sz="1200" b="1" kern="0" dirty="0">
                  <a:solidFill>
                    <a:schemeClr val="accent3"/>
                  </a:solidFill>
                </a:rPr>
                <a:t> da Fase 1 </a:t>
              </a:r>
              <a:r>
                <a:rPr lang="pt-BR" sz="1200" kern="0" dirty="0">
                  <a:solidFill>
                    <a:schemeClr val="tx1"/>
                  </a:solidFill>
                </a:rPr>
                <a:t>(dados abertos)</a:t>
              </a:r>
              <a:endParaRPr lang="pt-BR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9AB600B-1C11-4BC6-8A44-F91F623F3756}"/>
              </a:ext>
            </a:extLst>
          </p:cNvPr>
          <p:cNvGrpSpPr/>
          <p:nvPr/>
        </p:nvGrpSpPr>
        <p:grpSpPr>
          <a:xfrm>
            <a:off x="513077" y="3218804"/>
            <a:ext cx="937543" cy="307777"/>
            <a:chOff x="352778" y="3397352"/>
            <a:chExt cx="937543" cy="307777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6F20070-DB48-4340-96C8-80CE9565EDAF}"/>
                </a:ext>
              </a:extLst>
            </p:cNvPr>
            <p:cNvSpPr txBox="1"/>
            <p:nvPr/>
          </p:nvSpPr>
          <p:spPr>
            <a:xfrm>
              <a:off x="352778" y="3397352"/>
              <a:ext cx="570670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pt-BR" sz="2000" b="1" kern="0" dirty="0"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2020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2520A70-06F7-45BD-A478-3A16FC7AFE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6250" y="3484205"/>
              <a:ext cx="134071" cy="134071"/>
            </a:xfrm>
            <a:prstGeom prst="ellipse">
              <a:avLst/>
            </a:prstGeom>
            <a:solidFill>
              <a:schemeClr val="tx1"/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pt-BR" sz="1050" kern="0" dirty="0">
                <a:solidFill>
                  <a:schemeClr val="tx1"/>
                </a:solidFill>
                <a:sym typeface="+mn-lt"/>
              </a:endParaRPr>
            </a:p>
          </p:txBody>
        </p:sp>
      </p:grpSp>
      <p:pic>
        <p:nvPicPr>
          <p:cNvPr id="54" name="ico-prototype">
            <a:extLst>
              <a:ext uri="{FF2B5EF4-FFF2-40B4-BE49-F238E27FC236}">
                <a16:creationId xmlns:a16="http://schemas.microsoft.com/office/drawing/2014/main" id="{CEBE3A58-2D3F-46D3-8C43-0398CB606A8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05393" y="3165457"/>
            <a:ext cx="411480" cy="411480"/>
          </a:xfrm>
          <a:prstGeom prst="rect">
            <a:avLst/>
          </a:prstGeom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1593E0F3-0BD0-4F1D-9062-BB3AD695ECDF}"/>
              </a:ext>
            </a:extLst>
          </p:cNvPr>
          <p:cNvGrpSpPr/>
          <p:nvPr/>
        </p:nvGrpSpPr>
        <p:grpSpPr>
          <a:xfrm>
            <a:off x="2323362" y="4497445"/>
            <a:ext cx="9411444" cy="507991"/>
            <a:chOff x="1500103" y="2407107"/>
            <a:chExt cx="10266443" cy="507991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1F5A492-6FF8-4A80-A80F-8B46FC431294}"/>
                </a:ext>
              </a:extLst>
            </p:cNvPr>
            <p:cNvSpPr txBox="1"/>
            <p:nvPr/>
          </p:nvSpPr>
          <p:spPr>
            <a:xfrm>
              <a:off x="1500103" y="2407107"/>
              <a:ext cx="120480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400" b="1" dirty="0"/>
                <a:t>Estruturação</a:t>
              </a:r>
              <a:endParaRPr lang="pt-BR" sz="1400" b="1" kern="0" dirty="0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104059C-40D3-4641-A440-517FD8B9EF7E}"/>
                </a:ext>
              </a:extLst>
            </p:cNvPr>
            <p:cNvSpPr txBox="1">
              <a:spLocks/>
            </p:cNvSpPr>
            <p:nvPr/>
          </p:nvSpPr>
          <p:spPr>
            <a:xfrm>
              <a:off x="1535411" y="2658399"/>
              <a:ext cx="10231135" cy="2566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45720" tIns="45720" rIns="45720" bIns="45720" rtlCol="0" anchor="t">
              <a:noAutofit/>
            </a:bodyPr>
            <a:lstStyle/>
            <a:p>
              <a:pPr marL="171450" indent="-171450">
                <a:spcBef>
                  <a:spcPts val="3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pt-BR" sz="1200" b="1" kern="0" dirty="0">
                  <a:solidFill>
                    <a:schemeClr val="accent3"/>
                  </a:solidFill>
                </a:rPr>
                <a:t>Formulação das especificações das fases 2 e 3</a:t>
              </a:r>
              <a:r>
                <a:rPr lang="pt-BR" sz="1200" kern="0" dirty="0">
                  <a:solidFill>
                    <a:schemeClr val="accent3"/>
                  </a:solidFill>
                </a:rPr>
                <a:t> </a:t>
              </a:r>
              <a:r>
                <a:rPr lang="pt-BR" sz="1200" kern="0" dirty="0"/>
                <a:t>(p.ex.: escopo de dados, jornadas)</a:t>
              </a:r>
            </a:p>
            <a:p>
              <a:pPr marL="171450" indent="-171450">
                <a:spcBef>
                  <a:spcPts val="3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pt-BR" sz="1200" dirty="0"/>
                <a:t>Condução de </a:t>
              </a:r>
              <a:r>
                <a:rPr lang="pt-BR" sz="1200" b="1" i="1" dirty="0" err="1">
                  <a:solidFill>
                    <a:schemeClr val="accent3"/>
                  </a:solidFill>
                </a:rPr>
                <a:t>war</a:t>
              </a:r>
              <a:r>
                <a:rPr lang="pt-BR" sz="1200" b="1" i="1" dirty="0">
                  <a:solidFill>
                    <a:schemeClr val="accent3"/>
                  </a:solidFill>
                </a:rPr>
                <a:t> </a:t>
              </a:r>
              <a:r>
                <a:rPr lang="pt-BR" sz="1200" b="1" i="1" dirty="0" err="1">
                  <a:solidFill>
                    <a:schemeClr val="accent3"/>
                  </a:solidFill>
                </a:rPr>
                <a:t>rooms</a:t>
              </a:r>
              <a:r>
                <a:rPr lang="pt-BR" sz="1200" b="1" i="1" dirty="0">
                  <a:solidFill>
                    <a:schemeClr val="accent3"/>
                  </a:solidFill>
                </a:rPr>
                <a:t> </a:t>
              </a:r>
              <a:r>
                <a:rPr lang="pt-BR" sz="1200" b="1" dirty="0">
                  <a:solidFill>
                    <a:schemeClr val="accent3"/>
                  </a:solidFill>
                </a:rPr>
                <a:t>com as instituições obrigatórias </a:t>
              </a:r>
              <a:r>
                <a:rPr lang="pt-BR" sz="1200" dirty="0">
                  <a:solidFill>
                    <a:schemeClr val="tx1"/>
                  </a:solidFill>
                </a:rPr>
                <a:t>para resolução de problemas técnicos </a:t>
              </a:r>
              <a:r>
                <a:rPr lang="pt-BR" sz="1200" dirty="0"/>
                <a:t>das fases 2 e 3</a:t>
              </a:r>
            </a:p>
            <a:p>
              <a:pPr marL="171450" indent="-171450">
                <a:spcBef>
                  <a:spcPts val="3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pt-BR" sz="1200" b="1" dirty="0">
                  <a:solidFill>
                    <a:schemeClr val="accent3"/>
                  </a:solidFill>
                </a:rPr>
                <a:t>Desenvolvimento e monitoramento (PMO) de indicadores de performance </a:t>
              </a:r>
              <a:r>
                <a:rPr lang="pt-BR" sz="1200" dirty="0"/>
                <a:t>do ecossistema</a:t>
              </a:r>
              <a:endParaRPr lang="pt-BR" sz="1200" kern="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44F0453-64FC-4BFC-9B34-FDA1214CB95D}"/>
              </a:ext>
            </a:extLst>
          </p:cNvPr>
          <p:cNvGrpSpPr/>
          <p:nvPr/>
        </p:nvGrpSpPr>
        <p:grpSpPr>
          <a:xfrm>
            <a:off x="513077" y="4572157"/>
            <a:ext cx="937543" cy="307777"/>
            <a:chOff x="352778" y="4368992"/>
            <a:chExt cx="937543" cy="307777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9532C933-2B8E-4DCA-B17B-17A08E6E684A}"/>
                </a:ext>
              </a:extLst>
            </p:cNvPr>
            <p:cNvSpPr txBox="1"/>
            <p:nvPr/>
          </p:nvSpPr>
          <p:spPr>
            <a:xfrm>
              <a:off x="352778" y="4368992"/>
              <a:ext cx="570670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pt-BR" sz="2000" b="1" kern="0" dirty="0"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2021</a:t>
              </a: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026E1C5C-A8B1-4B78-8D58-55E7201959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6250" y="4455845"/>
              <a:ext cx="134071" cy="134071"/>
            </a:xfrm>
            <a:prstGeom prst="ellipse">
              <a:avLst/>
            </a:prstGeom>
            <a:solidFill>
              <a:schemeClr val="tx1"/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pt-BR" sz="1050" kern="0" dirty="0">
                <a:solidFill>
                  <a:schemeClr val="tx1"/>
                </a:solidFill>
                <a:sym typeface="+mn-lt"/>
              </a:endParaRPr>
            </a:p>
          </p:txBody>
        </p:sp>
      </p:grpSp>
      <p:pic>
        <p:nvPicPr>
          <p:cNvPr id="61" name="ico-nodes">
            <a:extLst>
              <a:ext uri="{FF2B5EF4-FFF2-40B4-BE49-F238E27FC236}">
                <a16:creationId xmlns:a16="http://schemas.microsoft.com/office/drawing/2014/main" id="{ED78AC3C-DBA4-4387-AD47-BA01991D90F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705393" y="4518810"/>
            <a:ext cx="411480" cy="411480"/>
          </a:xfrm>
          <a:prstGeom prst="rect">
            <a:avLst/>
          </a:prstGeom>
        </p:spPr>
      </p:pic>
      <p:grpSp>
        <p:nvGrpSpPr>
          <p:cNvPr id="62" name="Group 61">
            <a:extLst>
              <a:ext uri="{FF2B5EF4-FFF2-40B4-BE49-F238E27FC236}">
                <a16:creationId xmlns:a16="http://schemas.microsoft.com/office/drawing/2014/main" id="{3C0CF8F2-8342-4349-856E-85342D66C193}"/>
              </a:ext>
            </a:extLst>
          </p:cNvPr>
          <p:cNvGrpSpPr/>
          <p:nvPr/>
        </p:nvGrpSpPr>
        <p:grpSpPr>
          <a:xfrm>
            <a:off x="2323361" y="5711890"/>
            <a:ext cx="9411438" cy="740631"/>
            <a:chOff x="1500103" y="2407107"/>
            <a:chExt cx="10266443" cy="740631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555EA06-5E06-4A5D-8E61-5CA5B5DBBEA0}"/>
                </a:ext>
              </a:extLst>
            </p:cNvPr>
            <p:cNvSpPr txBox="1"/>
            <p:nvPr/>
          </p:nvSpPr>
          <p:spPr>
            <a:xfrm>
              <a:off x="1500103" y="2407107"/>
              <a:ext cx="224349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400" b="1" kern="0" dirty="0"/>
                <a:t>Sustentação e Evolução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E628083-FF80-4C4C-B61C-31726A14DF65}"/>
                </a:ext>
              </a:extLst>
            </p:cNvPr>
            <p:cNvSpPr txBox="1">
              <a:spLocks/>
            </p:cNvSpPr>
            <p:nvPr/>
          </p:nvSpPr>
          <p:spPr>
            <a:xfrm>
              <a:off x="1535411" y="2658399"/>
              <a:ext cx="10231135" cy="48933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45720" tIns="45720" rIns="45720" bIns="45720" rtlCol="0" anchor="t">
              <a:noAutofit/>
            </a:bodyPr>
            <a:lstStyle/>
            <a:p>
              <a:pPr marL="171450" indent="-171450">
                <a:spcBef>
                  <a:spcPts val="3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pt-BR" sz="1200" b="1" dirty="0">
                  <a:solidFill>
                    <a:schemeClr val="accent3"/>
                  </a:solidFill>
                </a:rPr>
                <a:t>Atuação ativa nas discussões técnicas junto ao mercado</a:t>
              </a:r>
              <a:r>
                <a:rPr lang="pt-BR" sz="1200" dirty="0">
                  <a:solidFill>
                    <a:schemeClr val="tx1"/>
                  </a:solidFill>
                </a:rPr>
                <a:t>, aportando + 200 profissionais das instituições nos grupos de trabalho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D8AED41-2C19-46B5-A1CB-D502E2C27855}"/>
              </a:ext>
            </a:extLst>
          </p:cNvPr>
          <p:cNvGrpSpPr/>
          <p:nvPr/>
        </p:nvGrpSpPr>
        <p:grpSpPr>
          <a:xfrm>
            <a:off x="151027" y="5805653"/>
            <a:ext cx="1299593" cy="307777"/>
            <a:chOff x="-9272" y="5340631"/>
            <a:chExt cx="1299593" cy="307777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F7ABF1C-860B-4759-BDFE-CE813ED7973A}"/>
                </a:ext>
              </a:extLst>
            </p:cNvPr>
            <p:cNvSpPr txBox="1"/>
            <p:nvPr/>
          </p:nvSpPr>
          <p:spPr>
            <a:xfrm>
              <a:off x="-9272" y="5340631"/>
              <a:ext cx="940962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pt-BR" sz="2000" b="1" kern="0" dirty="0"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2022-25</a:t>
              </a: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7AD362BE-B36F-42A6-A0AC-E92135A695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6250" y="5427485"/>
              <a:ext cx="134071" cy="134071"/>
            </a:xfrm>
            <a:prstGeom prst="ellipse">
              <a:avLst/>
            </a:prstGeom>
            <a:solidFill>
              <a:schemeClr val="tx1"/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pt-BR" sz="1050" kern="0" dirty="0">
                <a:solidFill>
                  <a:schemeClr val="tx1"/>
                </a:solidFill>
                <a:sym typeface="+mn-lt"/>
              </a:endParaRPr>
            </a:p>
          </p:txBody>
        </p:sp>
      </p:grpSp>
      <p:pic>
        <p:nvPicPr>
          <p:cNvPr id="68" name="ico-settings">
            <a:extLst>
              <a:ext uri="{FF2B5EF4-FFF2-40B4-BE49-F238E27FC236}">
                <a16:creationId xmlns:a16="http://schemas.microsoft.com/office/drawing/2014/main" id="{AE9AB00D-3D3C-4771-9D1D-B27EAE534C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705393" y="5752307"/>
            <a:ext cx="411480" cy="41148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50785F9-C619-9963-56E7-863E01A79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Histórico de atuação da Febraban</a:t>
            </a:r>
            <a:br>
              <a:rPr lang="pt-BR" dirty="0"/>
            </a:br>
            <a:r>
              <a:rPr lang="pt-BR" sz="14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sde a idealização do Open Finance no Brasil, a Febraban tem atuado como um parceiro fundamental na implementação e evolução do ecossistema, sendo protagonista no aporte técnico, estratégico e financeiro</a:t>
            </a:r>
          </a:p>
        </p:txBody>
      </p:sp>
    </p:spTree>
    <p:extLst>
      <p:ext uri="{BB962C8B-B14F-4D97-AF65-F5344CB8AC3E}">
        <p14:creationId xmlns:p14="http://schemas.microsoft.com/office/powerpoint/2010/main" val="3271170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35BBE5-C5A3-21B9-FD8E-DC61DFA63C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73B2586-149C-15C0-18C1-F22BBD649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79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9" imgH="329" progId="TCLayout.ActiveDocument.1">
                  <p:embed/>
                </p:oleObj>
              </mc:Choice>
              <mc:Fallback>
                <p:oleObj name="think-cell Slide" r:id="rId4" imgW="329" imgH="329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3B2586-149C-15C0-18C1-F22BBD649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Rectangle 103">
            <a:extLst>
              <a:ext uri="{FF2B5EF4-FFF2-40B4-BE49-F238E27FC236}">
                <a16:creationId xmlns:a16="http://schemas.microsoft.com/office/drawing/2014/main" id="{27A2F729-BB0A-08ED-10C0-3943766BC5F7}"/>
              </a:ext>
            </a:extLst>
          </p:cNvPr>
          <p:cNvSpPr/>
          <p:nvPr/>
        </p:nvSpPr>
        <p:spPr>
          <a:xfrm>
            <a:off x="401611" y="5632475"/>
            <a:ext cx="5549031" cy="841478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err="1">
              <a:solidFill>
                <a:schemeClr val="tx1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0C8AF75-EDA3-D085-A269-4E3D146B520D}"/>
              </a:ext>
            </a:extLst>
          </p:cNvPr>
          <p:cNvSpPr/>
          <p:nvPr/>
        </p:nvSpPr>
        <p:spPr>
          <a:xfrm>
            <a:off x="401611" y="3785448"/>
            <a:ext cx="5549031" cy="1779557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err="1">
              <a:solidFill>
                <a:schemeClr val="tx1"/>
              </a:solidFill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4A2E3F67-6AE5-EB68-655D-EEA3D7AF0A87}"/>
              </a:ext>
            </a:extLst>
          </p:cNvPr>
          <p:cNvCxnSpPr>
            <a:cxnSpLocks/>
          </p:cNvCxnSpPr>
          <p:nvPr/>
        </p:nvCxnSpPr>
        <p:spPr>
          <a:xfrm>
            <a:off x="457200" y="5700736"/>
            <a:ext cx="54102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8784E8EA-30AF-D6BD-A8F6-C81ED333BD2B}"/>
              </a:ext>
            </a:extLst>
          </p:cNvPr>
          <p:cNvSpPr/>
          <p:nvPr/>
        </p:nvSpPr>
        <p:spPr>
          <a:xfrm>
            <a:off x="401611" y="1879601"/>
            <a:ext cx="5549032" cy="1830822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err="1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005EC9B-E189-AA96-092F-22C2568B8BC3}"/>
              </a:ext>
            </a:extLst>
          </p:cNvPr>
          <p:cNvSpPr/>
          <p:nvPr/>
        </p:nvSpPr>
        <p:spPr>
          <a:xfrm>
            <a:off x="6241359" y="1879600"/>
            <a:ext cx="5608895" cy="4594352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err="1">
              <a:solidFill>
                <a:schemeClr val="tx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6A7F39F-C1C5-329C-3EB1-C47D5B5E8F69}"/>
              </a:ext>
            </a:extLst>
          </p:cNvPr>
          <p:cNvSpPr/>
          <p:nvPr/>
        </p:nvSpPr>
        <p:spPr>
          <a:xfrm>
            <a:off x="942106" y="2961862"/>
            <a:ext cx="4925291" cy="624032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2"/>
            </a:solidFill>
            <a:prstDash val="lg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433C08B-91BC-5422-9C3F-23E0F320ADEC}"/>
              </a:ext>
            </a:extLst>
          </p:cNvPr>
          <p:cNvSpPr/>
          <p:nvPr/>
        </p:nvSpPr>
        <p:spPr>
          <a:xfrm>
            <a:off x="457200" y="1992923"/>
            <a:ext cx="5410198" cy="624032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2"/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6D9FEF-10D7-D899-FC58-E0711E447EC9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 anchor="ctr"/>
          <a:lstStyle/>
          <a:p>
            <a:r>
              <a:rPr lang="pt-BR" dirty="0">
                <a:solidFill>
                  <a:schemeClr val="accent2"/>
                </a:solidFill>
              </a:rPr>
              <a:t>De um lado, vemos uma assimetria que leva a ineficiência..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7946A6-4511-9C46-AD2B-73147830A6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ctr"/>
          <a:lstStyle/>
          <a:p>
            <a:r>
              <a:rPr lang="pt-BR" dirty="0">
                <a:solidFill>
                  <a:schemeClr val="accent3"/>
                </a:solidFill>
              </a:rPr>
              <a:t>... enquanto preocupações com segurança são crescent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90D913-30D4-D4EE-CDDA-F22A50F1309A}"/>
              </a:ext>
            </a:extLst>
          </p:cNvPr>
          <p:cNvSpPr txBox="1"/>
          <p:nvPr/>
        </p:nvSpPr>
        <p:spPr>
          <a:xfrm>
            <a:off x="942108" y="2052062"/>
            <a:ext cx="492529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pt-BR" sz="1200" b="1" dirty="0">
                <a:solidFill>
                  <a:schemeClr val="accent2"/>
                </a:solidFill>
              </a:rPr>
              <a:t>Custeio da infraestrutura central </a:t>
            </a:r>
            <a:r>
              <a:rPr lang="pt-BR" sz="1200" dirty="0"/>
              <a:t>(cerca de R$ 160 M ao ano) é proporcional ao </a:t>
            </a:r>
            <a:r>
              <a:rPr lang="pt-BR" sz="1200" b="1" dirty="0">
                <a:solidFill>
                  <a:schemeClr val="accent2"/>
                </a:solidFill>
              </a:rPr>
              <a:t>Patrimônio Líquido</a:t>
            </a:r>
            <a:r>
              <a:rPr lang="pt-BR" sz="1200" dirty="0"/>
              <a:t> das instituições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9BC3BCC-E91C-B3B9-85F4-F672FC0D757E}"/>
              </a:ext>
            </a:extLst>
          </p:cNvPr>
          <p:cNvSpPr>
            <a:spLocks noChangeAspect="1"/>
          </p:cNvSpPr>
          <p:nvPr/>
        </p:nvSpPr>
        <p:spPr>
          <a:xfrm rot="5400000">
            <a:off x="2986980" y="2624514"/>
            <a:ext cx="134939" cy="269876"/>
          </a:xfrm>
          <a:custGeom>
            <a:avLst/>
            <a:gdLst/>
            <a:ahLst/>
            <a:cxnLst/>
            <a:rect l="0" t="0" r="0" b="0"/>
            <a:pathLst>
              <a:path w="134939" h="269876">
                <a:moveTo>
                  <a:pt x="67469" y="202406"/>
                </a:moveTo>
                <a:lnTo>
                  <a:pt x="0" y="269875"/>
                </a:lnTo>
                <a:lnTo>
                  <a:pt x="134938" y="134938"/>
                </a:lnTo>
                <a:lnTo>
                  <a:pt x="0" y="0"/>
                </a:lnTo>
                <a:lnTo>
                  <a:pt x="67469" y="67469"/>
                </a:lnTo>
              </a:path>
            </a:pathLst>
          </a:custGeom>
          <a:ln w="1905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BC3E211-B2FF-CFB1-4456-B31BE958CE6C}"/>
              </a:ext>
            </a:extLst>
          </p:cNvPr>
          <p:cNvSpPr>
            <a:spLocks noChangeAspect="1"/>
          </p:cNvSpPr>
          <p:nvPr/>
        </p:nvSpPr>
        <p:spPr>
          <a:xfrm rot="5400000">
            <a:off x="2986980" y="2691984"/>
            <a:ext cx="134939" cy="269876"/>
          </a:xfrm>
          <a:custGeom>
            <a:avLst/>
            <a:gdLst/>
            <a:ahLst/>
            <a:cxnLst/>
            <a:rect l="0" t="0" r="0" b="0"/>
            <a:pathLst>
              <a:path w="134939" h="269876">
                <a:moveTo>
                  <a:pt x="67469" y="202406"/>
                </a:moveTo>
                <a:lnTo>
                  <a:pt x="0" y="269875"/>
                </a:lnTo>
                <a:lnTo>
                  <a:pt x="134938" y="134938"/>
                </a:lnTo>
                <a:lnTo>
                  <a:pt x="0" y="0"/>
                </a:lnTo>
                <a:lnTo>
                  <a:pt x="67469" y="67469"/>
                </a:lnTo>
              </a:path>
            </a:pathLst>
          </a:custGeom>
          <a:ln w="1905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3328ABE-E7AC-6530-0BDC-988479832252}"/>
              </a:ext>
            </a:extLst>
          </p:cNvPr>
          <p:cNvSpPr txBox="1"/>
          <p:nvPr/>
        </p:nvSpPr>
        <p:spPr>
          <a:xfrm>
            <a:off x="1383553" y="3036887"/>
            <a:ext cx="44838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pt-BR" sz="1200" dirty="0"/>
              <a:t>Maiores instituições consumidoras de informação pagam parcela pequena do custo</a:t>
            </a:r>
          </a:p>
        </p:txBody>
      </p:sp>
      <p:pic>
        <p:nvPicPr>
          <p:cNvPr id="23" name="ico-revenue">
            <a:extLst>
              <a:ext uri="{FF2B5EF4-FFF2-40B4-BE49-F238E27FC236}">
                <a16:creationId xmlns:a16="http://schemas.microsoft.com/office/drawing/2014/main" id="{3231AC79-01CA-2ADF-4304-3830FD5A3F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2088" y="2109768"/>
            <a:ext cx="340019" cy="340019"/>
          </a:xfrm>
          <a:prstGeom prst="rect">
            <a:avLst/>
          </a:prstGeom>
        </p:spPr>
      </p:pic>
      <p:pic>
        <p:nvPicPr>
          <p:cNvPr id="24" name="ico-cost-decrease">
            <a:extLst>
              <a:ext uri="{FF2B5EF4-FFF2-40B4-BE49-F238E27FC236}">
                <a16:creationId xmlns:a16="http://schemas.microsoft.com/office/drawing/2014/main" id="{8634A9BF-7C04-35FB-993F-49B0DB7723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4056" y="3085337"/>
            <a:ext cx="340019" cy="340019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B88E3D2-1374-1816-FC8B-45E182E898B7}"/>
              </a:ext>
            </a:extLst>
          </p:cNvPr>
          <p:cNvSpPr/>
          <p:nvPr/>
        </p:nvSpPr>
        <p:spPr>
          <a:xfrm>
            <a:off x="942106" y="4863656"/>
            <a:ext cx="4925292" cy="624032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2"/>
            </a:solidFill>
            <a:prstDash val="lg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95E3C29F-9318-D6A1-C1F9-260F4FA95634}"/>
              </a:ext>
            </a:extLst>
          </p:cNvPr>
          <p:cNvSpPr/>
          <p:nvPr/>
        </p:nvSpPr>
        <p:spPr>
          <a:xfrm>
            <a:off x="457200" y="3894717"/>
            <a:ext cx="5410198" cy="624032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2"/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BA465A3-BEF5-493E-9764-64399637FF09}"/>
              </a:ext>
            </a:extLst>
          </p:cNvPr>
          <p:cNvSpPr txBox="1"/>
          <p:nvPr/>
        </p:nvSpPr>
        <p:spPr>
          <a:xfrm>
            <a:off x="942108" y="4043071"/>
            <a:ext cx="49252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pt-BR" sz="1200" b="1" dirty="0">
                <a:solidFill>
                  <a:schemeClr val="accent2"/>
                </a:solidFill>
              </a:rPr>
              <a:t>Poder de voto não é atrelado ao custeio</a:t>
            </a:r>
            <a:r>
              <a:rPr lang="pt-BR" sz="1200" dirty="0"/>
              <a:t>, gerando desequilíbrio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FEFCB75A-CEC9-D10C-5611-9A8C55636ABF}"/>
              </a:ext>
            </a:extLst>
          </p:cNvPr>
          <p:cNvSpPr>
            <a:spLocks noChangeAspect="1"/>
          </p:cNvSpPr>
          <p:nvPr/>
        </p:nvSpPr>
        <p:spPr>
          <a:xfrm rot="5400000">
            <a:off x="2986980" y="4526308"/>
            <a:ext cx="134939" cy="269876"/>
          </a:xfrm>
          <a:custGeom>
            <a:avLst/>
            <a:gdLst/>
            <a:ahLst/>
            <a:cxnLst/>
            <a:rect l="0" t="0" r="0" b="0"/>
            <a:pathLst>
              <a:path w="134939" h="269876">
                <a:moveTo>
                  <a:pt x="67469" y="202406"/>
                </a:moveTo>
                <a:lnTo>
                  <a:pt x="0" y="269875"/>
                </a:lnTo>
                <a:lnTo>
                  <a:pt x="134938" y="134938"/>
                </a:lnTo>
                <a:lnTo>
                  <a:pt x="0" y="0"/>
                </a:lnTo>
                <a:lnTo>
                  <a:pt x="67469" y="67469"/>
                </a:lnTo>
              </a:path>
            </a:pathLst>
          </a:custGeom>
          <a:ln w="1905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BCB21E9-688A-F01E-87B0-42B38315E35C}"/>
              </a:ext>
            </a:extLst>
          </p:cNvPr>
          <p:cNvSpPr>
            <a:spLocks noChangeAspect="1"/>
          </p:cNvSpPr>
          <p:nvPr/>
        </p:nvSpPr>
        <p:spPr>
          <a:xfrm rot="5400000">
            <a:off x="2986980" y="4593778"/>
            <a:ext cx="134939" cy="269876"/>
          </a:xfrm>
          <a:custGeom>
            <a:avLst/>
            <a:gdLst/>
            <a:ahLst/>
            <a:cxnLst/>
            <a:rect l="0" t="0" r="0" b="0"/>
            <a:pathLst>
              <a:path w="134939" h="269876">
                <a:moveTo>
                  <a:pt x="67469" y="202406"/>
                </a:moveTo>
                <a:lnTo>
                  <a:pt x="0" y="269875"/>
                </a:lnTo>
                <a:lnTo>
                  <a:pt x="134938" y="134938"/>
                </a:lnTo>
                <a:lnTo>
                  <a:pt x="0" y="0"/>
                </a:lnTo>
                <a:lnTo>
                  <a:pt x="67469" y="67469"/>
                </a:lnTo>
              </a:path>
            </a:pathLst>
          </a:custGeom>
          <a:ln w="1905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2ACEBD1-54D3-E71B-1344-AE3228841963}"/>
              </a:ext>
            </a:extLst>
          </p:cNvPr>
          <p:cNvSpPr txBox="1"/>
          <p:nvPr/>
        </p:nvSpPr>
        <p:spPr>
          <a:xfrm>
            <a:off x="1383552" y="4938681"/>
            <a:ext cx="448384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pt-BR" sz="1200" dirty="0"/>
              <a:t>Bancos </a:t>
            </a:r>
            <a:r>
              <a:rPr lang="pt-BR" sz="1200"/>
              <a:t>S1 e S2 têm </a:t>
            </a:r>
            <a:r>
              <a:rPr lang="pt-BR" sz="1200" dirty="0"/>
              <a:t>2 de 11 votos (18%), enquanto arcam com ~49% dos custos</a:t>
            </a:r>
          </a:p>
        </p:txBody>
      </p:sp>
      <p:pic>
        <p:nvPicPr>
          <p:cNvPr id="33" name="ico-uneven">
            <a:extLst>
              <a:ext uri="{FF2B5EF4-FFF2-40B4-BE49-F238E27FC236}">
                <a16:creationId xmlns:a16="http://schemas.microsoft.com/office/drawing/2014/main" id="{4BA3C904-6859-64DB-30D3-D2892F0759A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82778" y="3998619"/>
            <a:ext cx="340019" cy="340019"/>
          </a:xfrm>
          <a:prstGeom prst="rect">
            <a:avLst/>
          </a:prstGeom>
        </p:spPr>
      </p:pic>
      <p:pic>
        <p:nvPicPr>
          <p:cNvPr id="34" name="ico-temple">
            <a:extLst>
              <a:ext uri="{FF2B5EF4-FFF2-40B4-BE49-F238E27FC236}">
                <a16:creationId xmlns:a16="http://schemas.microsoft.com/office/drawing/2014/main" id="{7CD75574-19F4-1714-EDAC-68E2C31BB23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44056" y="5006230"/>
            <a:ext cx="340019" cy="340019"/>
          </a:xfrm>
          <a:prstGeom prst="rect">
            <a:avLst/>
          </a:prstGeom>
        </p:spPr>
      </p:pic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AC0B7CE-E2A1-58FC-6FDE-EF5A2F389F29}"/>
              </a:ext>
            </a:extLst>
          </p:cNvPr>
          <p:cNvSpPr/>
          <p:nvPr/>
        </p:nvSpPr>
        <p:spPr>
          <a:xfrm>
            <a:off x="457200" y="5734918"/>
            <a:ext cx="5410198" cy="624032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2"/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>
              <a:solidFill>
                <a:schemeClr val="tx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94D61C-2F5F-AC24-E25A-F5A26EE0E1CD}"/>
              </a:ext>
            </a:extLst>
          </p:cNvPr>
          <p:cNvSpPr txBox="1"/>
          <p:nvPr/>
        </p:nvSpPr>
        <p:spPr>
          <a:xfrm>
            <a:off x="942108" y="5828076"/>
            <a:ext cx="492529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pt-BR" sz="1200" b="1" dirty="0">
                <a:solidFill>
                  <a:schemeClr val="accent2"/>
                </a:solidFill>
              </a:rPr>
              <a:t>Ausência de ressarcimento de custos gera um consumo não eficiente do ecossistema</a:t>
            </a:r>
            <a:r>
              <a:rPr lang="pt-BR" sz="1200" dirty="0"/>
              <a:t>, sem racionalidade econômica</a:t>
            </a:r>
          </a:p>
        </p:txBody>
      </p:sp>
      <p:pic>
        <p:nvPicPr>
          <p:cNvPr id="38" name="ico-electronic-circuit">
            <a:extLst>
              <a:ext uri="{FF2B5EF4-FFF2-40B4-BE49-F238E27FC236}">
                <a16:creationId xmlns:a16="http://schemas.microsoft.com/office/drawing/2014/main" id="{F0158C2A-5471-6D3F-764E-3E6B0EDF1A6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2778" y="5846255"/>
            <a:ext cx="340019" cy="340019"/>
          </a:xfrm>
          <a:prstGeom prst="rect">
            <a:avLst/>
          </a:prstGeom>
        </p:spPr>
      </p:pic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B2B1AA3F-96A7-47F7-6BD6-CC04CF897CFD}"/>
              </a:ext>
            </a:extLst>
          </p:cNvPr>
          <p:cNvSpPr/>
          <p:nvPr/>
        </p:nvSpPr>
        <p:spPr>
          <a:xfrm>
            <a:off x="6352306" y="1992922"/>
            <a:ext cx="5382494" cy="96893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pt-BR" sz="1200" b="1" kern="0" dirty="0">
                <a:solidFill>
                  <a:schemeClr val="tx1"/>
                </a:solidFill>
              </a:rPr>
              <a:t>Eventos recentes no ecossistema financeiro preocupam a Febraban (p.ex.; Fragilidades de segurança de </a:t>
            </a:r>
            <a:r>
              <a:rPr lang="pt-BR" sz="1200" b="1" kern="0" dirty="0" err="1">
                <a:solidFill>
                  <a:schemeClr val="tx1"/>
                </a:solidFill>
              </a:rPr>
              <a:t>PSTIs</a:t>
            </a:r>
            <a:r>
              <a:rPr lang="pt-BR" sz="1200" b="1" kern="0" dirty="0">
                <a:solidFill>
                  <a:schemeClr val="tx1"/>
                </a:solidFill>
              </a:rPr>
              <a:t> / </a:t>
            </a:r>
            <a:r>
              <a:rPr lang="pt-BR" sz="1200" b="1" kern="0" dirty="0" err="1">
                <a:solidFill>
                  <a:schemeClr val="tx1"/>
                </a:solidFill>
              </a:rPr>
              <a:t>IPs</a:t>
            </a:r>
            <a:r>
              <a:rPr lang="pt-BR" sz="1200" b="1" kern="0" dirty="0">
                <a:solidFill>
                  <a:schemeClr val="tx1"/>
                </a:solidFill>
              </a:rPr>
              <a:t> e outros acessos indevidos </a:t>
            </a:r>
          </a:p>
        </p:txBody>
      </p:sp>
      <p:sp>
        <p:nvSpPr>
          <p:cNvPr id="96" name="Title 95">
            <a:extLst>
              <a:ext uri="{FF2B5EF4-FFF2-40B4-BE49-F238E27FC236}">
                <a16:creationId xmlns:a16="http://schemas.microsoft.com/office/drawing/2014/main" id="{8E55A4FD-FCEC-482E-7EB7-E4F592E4D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Dores do ecossistema</a:t>
            </a:r>
            <a:br>
              <a:rPr lang="pt-BR" dirty="0"/>
            </a:br>
            <a:r>
              <a:rPr lang="pt-BR" sz="14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governança atual ainda carece de maior eficiência e equilíbrio, ao passo que as crescentes vulnerabilidades em todo o sistema financeiro e desvios de conduta no Open Finance elevam as preocupações com segurança e privacidade da informação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009E0FD-F7BF-DF4D-4E09-04C85A477359}"/>
              </a:ext>
            </a:extLst>
          </p:cNvPr>
          <p:cNvSpPr>
            <a:spLocks noChangeAspect="1"/>
          </p:cNvSpPr>
          <p:nvPr/>
        </p:nvSpPr>
        <p:spPr>
          <a:xfrm rot="5400000">
            <a:off x="8993335" y="3007925"/>
            <a:ext cx="134939" cy="269876"/>
          </a:xfrm>
          <a:custGeom>
            <a:avLst/>
            <a:gdLst/>
            <a:ahLst/>
            <a:cxnLst/>
            <a:rect l="0" t="0" r="0" b="0"/>
            <a:pathLst>
              <a:path w="134939" h="269876">
                <a:moveTo>
                  <a:pt x="67469" y="202406"/>
                </a:moveTo>
                <a:lnTo>
                  <a:pt x="0" y="269875"/>
                </a:lnTo>
                <a:lnTo>
                  <a:pt x="134938" y="134938"/>
                </a:lnTo>
                <a:lnTo>
                  <a:pt x="0" y="0"/>
                </a:lnTo>
                <a:lnTo>
                  <a:pt x="67469" y="67469"/>
                </a:lnTo>
              </a:path>
            </a:pathLst>
          </a:custGeom>
          <a:ln w="1905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D7CE675-8CF6-F0E0-8AA6-5DCF5DE4D32F}"/>
              </a:ext>
            </a:extLst>
          </p:cNvPr>
          <p:cNvSpPr>
            <a:spLocks noChangeAspect="1"/>
          </p:cNvSpPr>
          <p:nvPr/>
        </p:nvSpPr>
        <p:spPr>
          <a:xfrm rot="5400000">
            <a:off x="8993335" y="3075395"/>
            <a:ext cx="134939" cy="269876"/>
          </a:xfrm>
          <a:custGeom>
            <a:avLst/>
            <a:gdLst/>
            <a:ahLst/>
            <a:cxnLst/>
            <a:rect l="0" t="0" r="0" b="0"/>
            <a:pathLst>
              <a:path w="134939" h="269876">
                <a:moveTo>
                  <a:pt x="67469" y="202406"/>
                </a:moveTo>
                <a:lnTo>
                  <a:pt x="0" y="269875"/>
                </a:lnTo>
                <a:lnTo>
                  <a:pt x="134938" y="134938"/>
                </a:lnTo>
                <a:lnTo>
                  <a:pt x="0" y="0"/>
                </a:lnTo>
                <a:lnTo>
                  <a:pt x="67469" y="67469"/>
                </a:lnTo>
              </a:path>
            </a:pathLst>
          </a:custGeom>
          <a:ln w="1905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2F8116A3-5D26-BF4D-4975-20676A1B138E}"/>
              </a:ext>
            </a:extLst>
          </p:cNvPr>
          <p:cNvSpPr/>
          <p:nvPr/>
        </p:nvSpPr>
        <p:spPr>
          <a:xfrm>
            <a:off x="6338453" y="3761367"/>
            <a:ext cx="5382494" cy="572774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3"/>
            </a:solidFill>
            <a:prstDash val="lg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t"/>
          <a:lstStyle/>
          <a:p>
            <a:r>
              <a:rPr lang="pt-BR" sz="1200" b="1" kern="0" dirty="0">
                <a:solidFill>
                  <a:schemeClr val="tx1"/>
                </a:solidFill>
              </a:rPr>
              <a:t>Não há diagnóstico profundo sobre potenciais fragilidades do ecossistema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D6D4FAC-163D-ECC4-1761-C6A1BE3E3358}"/>
              </a:ext>
            </a:extLst>
          </p:cNvPr>
          <p:cNvSpPr txBox="1"/>
          <p:nvPr/>
        </p:nvSpPr>
        <p:spPr>
          <a:xfrm>
            <a:off x="6324600" y="3376938"/>
            <a:ext cx="448818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pt-BR" sz="1400" b="1" kern="0" dirty="0"/>
              <a:t>No Open Finance...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25A41B80-FC1D-6F55-F1C6-E4526894C4BA}"/>
              </a:ext>
            </a:extLst>
          </p:cNvPr>
          <p:cNvSpPr/>
          <p:nvPr/>
        </p:nvSpPr>
        <p:spPr>
          <a:xfrm>
            <a:off x="6324600" y="4518749"/>
            <a:ext cx="5382494" cy="1882051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3"/>
            </a:solidFill>
            <a:prstDash val="lg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t"/>
          <a:lstStyle/>
          <a:p>
            <a:r>
              <a:rPr lang="pt-BR" sz="1200" b="1" kern="0" dirty="0">
                <a:solidFill>
                  <a:schemeClr val="tx1"/>
                </a:solidFill>
              </a:rPr>
              <a:t>Temos observado desvios de conduta </a:t>
            </a:r>
            <a:r>
              <a:rPr lang="pt-BR" sz="1200" kern="0" dirty="0">
                <a:solidFill>
                  <a:schemeClr val="tx1"/>
                </a:solidFill>
              </a:rPr>
              <a:t>na coleta e consumo de dados: </a:t>
            </a:r>
            <a:endParaRPr lang="pt-BR" sz="1200" b="1" kern="0" dirty="0">
              <a:solidFill>
                <a:schemeClr val="tx1"/>
              </a:solidFill>
            </a:endParaRPr>
          </a:p>
        </p:txBody>
      </p:sp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650823FB-85C7-5833-6A08-DE3186C432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6104824"/>
              </p:ext>
            </p:extLst>
          </p:nvPr>
        </p:nvGraphicFramePr>
        <p:xfrm>
          <a:off x="6613496" y="5038397"/>
          <a:ext cx="4740304" cy="1103427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333175">
                  <a:extLst>
                    <a:ext uri="{9D8B030D-6E8A-4147-A177-3AD203B41FA5}">
                      <a16:colId xmlns:a16="http://schemas.microsoft.com/office/drawing/2014/main" val="2278926130"/>
                    </a:ext>
                  </a:extLst>
                </a:gridCol>
                <a:gridCol w="4407129">
                  <a:extLst>
                    <a:ext uri="{9D8B030D-6E8A-4147-A177-3AD203B41FA5}">
                      <a16:colId xmlns:a16="http://schemas.microsoft.com/office/drawing/2014/main" val="3604383899"/>
                    </a:ext>
                  </a:extLst>
                </a:gridCol>
              </a:tblGrid>
              <a:tr h="541782">
                <a:tc>
                  <a:txBody>
                    <a:bodyPr/>
                    <a:lstStyle/>
                    <a:p>
                      <a:pPr marL="0" marR="0" lvl="0" indent="0" algn="ctr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1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dirty="0"/>
                        <a:t>Práticas preocupantes de captura de consentimento, sem transparência ao clien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0414477"/>
                  </a:ext>
                </a:extLst>
              </a:tr>
              <a:tr h="561645">
                <a:tc>
                  <a:txBody>
                    <a:bodyPr/>
                    <a:lstStyle/>
                    <a:p>
                      <a:pPr marL="0" marR="0" lvl="0" indent="0" algn="ctr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2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/>
                        <a:t>Dados transacionais financeiros sendo compartilhados e comercializados para fora do ecossistema financeir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7896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58795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032FA-FFFB-816A-83F7-665C3BC4CF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D78B7F-EFAE-C969-7CFE-228D2A85C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366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9" imgH="329" progId="TCLayout.ActiveDocument.1">
                  <p:embed/>
                </p:oleObj>
              </mc:Choice>
              <mc:Fallback>
                <p:oleObj name="think-cell Slide" r:id="rId4" imgW="329" imgH="32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D78B7F-EFAE-C969-7CFE-228D2A85C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CCF2273C-CE3C-CA4B-8047-78926216B301}"/>
              </a:ext>
            </a:extLst>
          </p:cNvPr>
          <p:cNvSpPr/>
          <p:nvPr/>
        </p:nvSpPr>
        <p:spPr>
          <a:xfrm>
            <a:off x="457199" y="1397000"/>
            <a:ext cx="3454399" cy="50037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dirty="0" err="1">
              <a:solidFill>
                <a:schemeClr val="tx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41F2179-E6A9-1A66-5129-52F61231F629}"/>
              </a:ext>
            </a:extLst>
          </p:cNvPr>
          <p:cNvGrpSpPr/>
          <p:nvPr/>
        </p:nvGrpSpPr>
        <p:grpSpPr>
          <a:xfrm>
            <a:off x="3535262" y="1399032"/>
            <a:ext cx="8199538" cy="1002931"/>
            <a:chOff x="3535262" y="1399032"/>
            <a:chExt cx="8199538" cy="100293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D54C3A1-036B-772D-AA5B-045D911286ED}"/>
                </a:ext>
              </a:extLst>
            </p:cNvPr>
            <p:cNvSpPr/>
            <p:nvPr/>
          </p:nvSpPr>
          <p:spPr>
            <a:xfrm>
              <a:off x="3535262" y="1499947"/>
              <a:ext cx="771266" cy="771266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pt-BR" sz="2800" b="1" kern="0">
                  <a:solidFill>
                    <a:schemeClr val="tx1"/>
                  </a:solidFill>
                  <a:latin typeface="+mj-lt"/>
                </a:rPr>
                <a:t>1</a:t>
              </a:r>
              <a:endParaRPr lang="pt-BR" sz="2800" b="1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04881C-8AC6-F5F6-8F7D-B509F80A4437}"/>
                </a:ext>
              </a:extLst>
            </p:cNvPr>
            <p:cNvSpPr/>
            <p:nvPr/>
          </p:nvSpPr>
          <p:spPr>
            <a:xfrm>
              <a:off x="4368800" y="1399032"/>
              <a:ext cx="7366000" cy="100293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>
                <a:spcBef>
                  <a:spcPts val="300"/>
                </a:spcBef>
              </a:pPr>
              <a:r>
                <a:rPr lang="pt-BR" sz="1600" b="1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Governança Setorial</a:t>
              </a:r>
            </a:p>
            <a:p>
              <a:pPr>
                <a:spcBef>
                  <a:spcPts val="300"/>
                </a:spcBef>
              </a:pP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Manter as </a:t>
              </a:r>
              <a:r>
                <a:rPr lang="pt-BR" sz="1400" b="1" kern="0" dirty="0">
                  <a:solidFill>
                    <a:schemeClr val="accent1"/>
                  </a:solidFill>
                  <a:latin typeface="+mn-lt" panose="020F0502020204030204" pitchFamily="34" charset="0"/>
                </a:rPr>
                <a:t>competências regulatórias </a:t>
              </a: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para a definição de governança, desenhada com um </a:t>
              </a:r>
              <a:r>
                <a:rPr lang="pt-BR" sz="1400" b="1" kern="0" dirty="0">
                  <a:solidFill>
                    <a:schemeClr val="accent1"/>
                  </a:solidFill>
                  <a:latin typeface="+mn-lt" panose="020F0502020204030204" pitchFamily="34" charset="0"/>
                </a:rPr>
                <a:t>caráter consultivo</a:t>
              </a: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, cabendo a </a:t>
              </a:r>
              <a:r>
                <a:rPr lang="pt-BR" sz="1400" b="1" kern="0" dirty="0">
                  <a:solidFill>
                    <a:schemeClr val="accent1"/>
                  </a:solidFill>
                  <a:latin typeface="+mn-lt" panose="020F0502020204030204" pitchFamily="34" charset="0"/>
                </a:rPr>
                <a:t>cada órgão regulador definir sua governança e escopo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85668EB-7E2C-FC47-676B-D998CCD0985F}"/>
              </a:ext>
            </a:extLst>
          </p:cNvPr>
          <p:cNvGrpSpPr/>
          <p:nvPr/>
        </p:nvGrpSpPr>
        <p:grpSpPr>
          <a:xfrm>
            <a:off x="3535262" y="2731978"/>
            <a:ext cx="8199538" cy="1002931"/>
            <a:chOff x="3535262" y="2398741"/>
            <a:chExt cx="8199538" cy="1002931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32B05B3-069A-8147-1A2B-441F50D660EA}"/>
                </a:ext>
              </a:extLst>
            </p:cNvPr>
            <p:cNvSpPr/>
            <p:nvPr/>
          </p:nvSpPr>
          <p:spPr>
            <a:xfrm>
              <a:off x="3535262" y="2502878"/>
              <a:ext cx="771266" cy="771266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pt-BR" sz="2800" b="1" kern="0">
                  <a:solidFill>
                    <a:schemeClr val="tx1"/>
                  </a:solidFill>
                  <a:latin typeface="+mj-lt"/>
                </a:rPr>
                <a:t>2</a:t>
              </a:r>
              <a:endParaRPr lang="pt-BR" sz="2800" b="1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60DDEFA-D5CA-C705-1AD6-385E5F7BAD4C}"/>
                </a:ext>
              </a:extLst>
            </p:cNvPr>
            <p:cNvSpPr/>
            <p:nvPr/>
          </p:nvSpPr>
          <p:spPr>
            <a:xfrm>
              <a:off x="4368800" y="2398741"/>
              <a:ext cx="7366000" cy="100293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>
                <a:spcBef>
                  <a:spcPts val="300"/>
                </a:spcBef>
              </a:pPr>
              <a:r>
                <a:rPr lang="pt-BR" sz="1600" b="1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Foco em princípios e definições básicas</a:t>
              </a:r>
            </a:p>
            <a:p>
              <a:pPr>
                <a:spcBef>
                  <a:spcPts val="300"/>
                </a:spcBef>
              </a:pPr>
              <a:r>
                <a:rPr lang="pt-BR" sz="1400" b="1" kern="0" dirty="0">
                  <a:solidFill>
                    <a:schemeClr val="accent1"/>
                  </a:solidFill>
                  <a:latin typeface="+mn-lt" panose="020F0502020204030204" pitchFamily="34" charset="0"/>
                </a:rPr>
                <a:t>Legislar definições e princípios mais básicos do Open Finance </a:t>
              </a: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– a agenda tecnológica é dinâmica e carece de menor complexidade para avanços e modificações 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8368192-B8D3-B102-9709-146B058A4C79}"/>
              </a:ext>
            </a:extLst>
          </p:cNvPr>
          <p:cNvGrpSpPr/>
          <p:nvPr/>
        </p:nvGrpSpPr>
        <p:grpSpPr>
          <a:xfrm>
            <a:off x="3535262" y="4064924"/>
            <a:ext cx="8199538" cy="1002931"/>
            <a:chOff x="3535262" y="4398159"/>
            <a:chExt cx="8199538" cy="100293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97832E6-EF46-3024-EE60-B727B668FAE6}"/>
                </a:ext>
              </a:extLst>
            </p:cNvPr>
            <p:cNvSpPr/>
            <p:nvPr/>
          </p:nvSpPr>
          <p:spPr>
            <a:xfrm>
              <a:off x="3535262" y="4508739"/>
              <a:ext cx="771266" cy="771266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pt-BR" sz="2800" b="1" kern="0">
                  <a:solidFill>
                    <a:schemeClr val="tx1"/>
                  </a:solidFill>
                  <a:latin typeface="+mj-lt"/>
                </a:rPr>
                <a:t>3</a:t>
              </a:r>
              <a:endParaRPr lang="pt-BR" sz="2800" b="1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7A30C05-C110-92F3-425F-E5DDFCE0CBE2}"/>
                </a:ext>
              </a:extLst>
            </p:cNvPr>
            <p:cNvSpPr/>
            <p:nvPr/>
          </p:nvSpPr>
          <p:spPr>
            <a:xfrm>
              <a:off x="4368800" y="4398159"/>
              <a:ext cx="7366000" cy="100293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>
                <a:spcBef>
                  <a:spcPts val="300"/>
                </a:spcBef>
              </a:pPr>
              <a:r>
                <a:rPr lang="pt-BR" sz="1600" b="1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Redução de assimetrias</a:t>
              </a:r>
            </a:p>
            <a:p>
              <a:pPr>
                <a:spcBef>
                  <a:spcPts val="300"/>
                </a:spcBef>
              </a:pP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Aportar mecanismos para reduzir assimetrias e </a:t>
              </a:r>
              <a:r>
                <a:rPr lang="pt-BR" sz="1400" b="1" kern="0" dirty="0">
                  <a:solidFill>
                    <a:schemeClr val="accent1"/>
                  </a:solidFill>
                  <a:latin typeface="+mn-lt" panose="020F0502020204030204" pitchFamily="34" charset="0"/>
                </a:rPr>
                <a:t>aumentar eficiência</a:t>
              </a: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, garantindo um </a:t>
              </a:r>
              <a:r>
                <a:rPr lang="pt-BR" sz="1400" b="1" kern="0" dirty="0">
                  <a:solidFill>
                    <a:schemeClr val="accent1"/>
                  </a:solidFill>
                  <a:latin typeface="+mn-lt" panose="020F0502020204030204" pitchFamily="34" charset="0"/>
                </a:rPr>
                <a:t>poder de voto proporcional ao custeio</a:t>
              </a:r>
              <a:r>
                <a:rPr lang="pt-BR" sz="1400" b="1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 </a:t>
              </a: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e a existência de </a:t>
              </a:r>
              <a:r>
                <a:rPr lang="pt-BR" sz="1400" b="1" kern="0" dirty="0">
                  <a:solidFill>
                    <a:schemeClr val="accent1"/>
                  </a:solidFill>
                  <a:latin typeface="+mn-lt" panose="020F0502020204030204" pitchFamily="34" charset="0"/>
                </a:rPr>
                <a:t>ressarcimento</a:t>
              </a:r>
              <a:r>
                <a:rPr lang="pt-BR" sz="1400" b="1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 </a:t>
              </a: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entre participantes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2ED0B2-5535-68CE-5134-76950A807AFA}"/>
              </a:ext>
            </a:extLst>
          </p:cNvPr>
          <p:cNvGrpSpPr/>
          <p:nvPr/>
        </p:nvGrpSpPr>
        <p:grpSpPr>
          <a:xfrm>
            <a:off x="3535262" y="5397869"/>
            <a:ext cx="8199538" cy="1002931"/>
            <a:chOff x="3535262" y="5397869"/>
            <a:chExt cx="8199538" cy="1002931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DC95175-D366-C318-D596-3E47357DBB2F}"/>
                </a:ext>
              </a:extLst>
            </p:cNvPr>
            <p:cNvSpPr/>
            <p:nvPr/>
          </p:nvSpPr>
          <p:spPr>
            <a:xfrm>
              <a:off x="3535262" y="5511670"/>
              <a:ext cx="771266" cy="771266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pt-BR" sz="2800" b="1" kern="0">
                  <a:solidFill>
                    <a:schemeClr val="tx1"/>
                  </a:solidFill>
                  <a:latin typeface="+mj-lt"/>
                </a:rPr>
                <a:t>4</a:t>
              </a:r>
              <a:endParaRPr lang="pt-BR" sz="2800" b="1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081B309-DF3D-356E-CCEF-8B66A772AABB}"/>
                </a:ext>
              </a:extLst>
            </p:cNvPr>
            <p:cNvSpPr/>
            <p:nvPr/>
          </p:nvSpPr>
          <p:spPr>
            <a:xfrm>
              <a:off x="4368800" y="5397869"/>
              <a:ext cx="7366000" cy="100293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>
                <a:spcBef>
                  <a:spcPts val="300"/>
                </a:spcBef>
              </a:pPr>
              <a:r>
                <a:rPr lang="pt-BR" sz="1600" b="1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Segurança e transparência</a:t>
              </a:r>
            </a:p>
            <a:p>
              <a:pPr>
                <a:spcBef>
                  <a:spcPts val="300"/>
                </a:spcBef>
              </a:pP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Reforçar a </a:t>
              </a:r>
              <a:r>
                <a:rPr lang="pt-BR" sz="1400" b="1" kern="0" dirty="0">
                  <a:solidFill>
                    <a:schemeClr val="accent1"/>
                  </a:solidFill>
                  <a:latin typeface="+mn-lt" panose="020F0502020204030204" pitchFamily="34" charset="0"/>
                </a:rPr>
                <a:t>natureza bilateral do consentimento,</a:t>
              </a: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 </a:t>
              </a:r>
              <a:r>
                <a:rPr lang="pt-BR" sz="1400" b="1" kern="0" dirty="0">
                  <a:solidFill>
                    <a:schemeClr val="accent1"/>
                  </a:solidFill>
                  <a:latin typeface="+mn-lt" panose="020F0502020204030204" pitchFamily="34" charset="0"/>
                </a:rPr>
                <a:t>vetando o compartilhamento e venda desvirtuada </a:t>
              </a:r>
              <a:r>
                <a:rPr lang="pt-BR" sz="1400" kern="0" dirty="0">
                  <a:solidFill>
                    <a:schemeClr val="tx1"/>
                  </a:solidFill>
                  <a:latin typeface="+mn-lt" panose="020F0502020204030204" pitchFamily="34" charset="0"/>
                </a:rPr>
                <a:t>para terceiros</a:t>
              </a:r>
            </a:p>
          </p:txBody>
        </p:sp>
      </p:grpSp>
      <p:pic>
        <p:nvPicPr>
          <p:cNvPr id="23" name="Google Shape;107;p6">
            <a:extLst>
              <a:ext uri="{FF2B5EF4-FFF2-40B4-BE49-F238E27FC236}">
                <a16:creationId xmlns:a16="http://schemas.microsoft.com/office/drawing/2014/main" id="{0045B013-38D1-ECB5-CA57-489234E66634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42935" b="65480"/>
          <a:stretch/>
        </p:blipFill>
        <p:spPr>
          <a:xfrm>
            <a:off x="457199" y="4606637"/>
            <a:ext cx="2656968" cy="1794162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553C17A5-C669-C55A-BE30-8332C5EB3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Recomendações ao PLP 207</a:t>
            </a:r>
            <a:br>
              <a:rPr lang="pt-BR" dirty="0"/>
            </a:br>
            <a:r>
              <a:rPr lang="pt-BR" sz="14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Febraban gostaria de propor um conjunto de 4 recomendações a serem consideradas na construção do PLP 207</a:t>
            </a:r>
          </a:p>
        </p:txBody>
      </p:sp>
    </p:spTree>
    <p:extLst>
      <p:ext uri="{BB962C8B-B14F-4D97-AF65-F5344CB8AC3E}">
        <p14:creationId xmlns:p14="http://schemas.microsoft.com/office/powerpoint/2010/main" val="3990471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8F0F68-C64C-7935-D9F4-C25F274429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8915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8F0F68-C64C-7935-D9F4-C25F27442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D6DCC0-CF7F-3178-F0FB-59F3B7DE5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noProof="0" dirty="0"/>
              <a:t>Obrigado!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F18CF1-6949-E594-5E4A-AF6C7CF78C4A}"/>
              </a:ext>
            </a:extLst>
          </p:cNvPr>
          <p:cNvSpPr/>
          <p:nvPr/>
        </p:nvSpPr>
        <p:spPr>
          <a:xfrm>
            <a:off x="10683350" y="0"/>
            <a:ext cx="1256477" cy="434176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pt-BR" sz="1400" kern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9358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TP_TOOLSPOWERPOINTCONFIGV2" val="{&quot;ConfigName&quot;:&quot;Tenerity&quot;,&quot;BracketAndBrace&quot;:{&quot;Brace&quot;:{&quot;Line&quot;:{&quot;Visible&quot;:true,&quot;Color&quot;:[{&quot;Source&quot;:2,&quot;Data&quot;:&quot;msoThemeColorText1&quot;}],&quot;Width&quot;:0.75},&quot;Width&quot;:14.4,&quot;Height&quot;:144.0,&quot;Adjustments&quot;:[0.5],&quot;AdjustmentsString&quot;:&quot;1&quot;},&quot;Bracket&quot;:{&quot;Line&quot;:{&quot;Visible&quot;:true,&quot;Color&quot;:[{&quot;Source&quot;:2,&quot;Data&quot;:&quot;msoThemeColorText1&quot;}],&quot;Width&quot;:0.75},&quot;Width&quot;:7.2,&quot;Height&quot;:144.0,&quot;Adjustments&quot;:[1.0],&quot;AdjustmentsString&quot;:&quot;1&quot;}},&quot;CalloutOutline&quot;:{&quot;Line&quot;:{&quot;Visible&quot;:false,&quot;Color&quot;:[{&quot;Source&quot;:2,&quot;Data&quot;:&quot;msoThemeColorAccent6&quot;}],&quot;Width&quot;:0.75},&quot;FillColor&quot;:[{&quot;Source&quot;:2,&quot;Data&quot;:&quot;msoThemeColorAccent6&quot;}],&quot;Font&quot;:{&quot;Color&quot;:[{&quot;Source&quot;:2,&quot;Data&quot;:&quot;msoThemeColorText1&quot;}],&quot;Name&quot;:&quot;+mn-lt&quot;,&quot;Style&quot;:0,&quot;Size&quot;:12}},&quot;Caret&quot;:{&quot;FillColor&quot;:[],&quot;LineColor&quot;:[{&quot;Source&quot;:2,&quot;Data&quot;:&quot;msoThemeColorText1&quot;}],&quot;SmallCaretLineWeight&quot;:1.5,&quot;LargeCaretLineWeight&quot;:2.25},&quot;Lines&quot;:{&quot;LineColor&quot;:[{&quot;Source&quot;:2,&quot;Data&quot;:&quot;msoThemeColorText1&quot;}],&quot;LineWidth&quot;:0.75},&quot;Circle&quot;:{&quot;Offset&quot;:&quot;-5, 2&quot;,&quot;Font&quot;:{&quot;Color&quot;:[{&quot;Source&quot;:2,&quot;Data&quot;:&quot;msoThemeColorText1&quot;}],&quot;Name&quot;:&quot;+mn-lt&quot;,&quot;Style&quot;:0,&quot;Size&quot;:10},&quot;FillColor&quot;:[{&quot;Source&quot;:2,&quot;Data&quot;:&quot;msoThemeColorBackground1&quot;}],&quot;Line&quot;:{&quot;Visible&quot;:true,&quot;Color&quot;:[{&quot;Source&quot;:2,&quot;Data&quot;:&quot;msoThemeColorAccent1&quot;}],&quot;Width&quot;:0.75}},&quot;CrossTick&quot;:{&quot;Cross&quot;:{&quot;Visible&quot;:true,&quot;Color&quot;:[{&quot;Source&quot;:2,&quot;Data&quot;:&quot;msoThemeColorText1&quot;}],&quot;Width&quot;:1.5},&quot;Tick&quot;:{&quot;Visible&quot;:true,&quot;Color&quot;:[{&quot;Source&quot;:2,&quot;Data&quot;:&quot;msoThemeColorText1&quot;}],&quot;Width&quot;:1.5}},&quot;Highlight&quot;:{&quot;Line&quot;:{&quot;Visible&quot;:true,&quot;Color&quot;:[{&quot;Source&quot;:0,&quot;Data&quot;:&quot;Yellow&quot;},{&quot;Source&quot;:1,&quot;Data&quot;:&quot;0x00BEFF&quot;}],&quot;Width&quot;:1.5},&quot;Font&quot;:{&quot;Color&quot;:[{&quot;Source&quot;:0,&quot;Data&quot;:&quot;Yellow&quot;},{&quot;Source&quot;:1,&quot;Data&quot;:&quot;0x00BEFF&quot;}],&quot;Name&quot;:&quot;+mn-lt&quot;,&quot;Style&quot;:1,&quot;Size&quot;:12},&quot;Alignment&quot;:1,&quot;VerticalAnchor&quot;:1},&quot;Title&quot;:{&quot;SubTitle&quot;:{&quot;Font&quot;:{&quot;Color&quot;:[{&quot;Source&quot;:2,&quot;Data&quot;:&quot;msoThemeColorText1&quot;}],&quot;Name&quot;:&quot;+mn-lt&quot;,&quot;Style&quot;:0,&quot;Size&quot;:14},&quot;AllCaps&quot;:false}},&quot;Headings&quot;:{&quot;Heading&quot;:{&quot;Font&quot;:{&quot;Color&quot;:[{&quot;Source&quot;:2,&quot;Data&quot;:&quot;msoThemeColorAccent1&quot;}],&quot;Name&quot;:&quot;+mn-lt&quot;,&quot;Style&quot;:2,&quot;Size&quot;:14}},&quot;Subheading&quot;:{&quot;Font&quot;:{&quot;Color&quot;:[{&quot;Source&quot;:2,&quot;Data&quot;:&quot;msoThemeColorAccent1&quot;}],&quot;Name&quot;:&quot;+mn-lt&quot;,&quot;Style&quot;:0,&quot;Size&quot;:12}}},&quot;Conclusion&quot;:{&quot;Fill&quot;:{&quot;FillType&quot;:0,&quot;Color&quot;:[]},&quot;VisibleBorders&quot;:[3,1],&quot;Line&quot;:{&quot;Visible&quot;:true,&quot;Color&quot;:[{&quot;Source&quot;:2,&quot;Data&quot;:&quot;msoThemeColorAccent2&quot;}],&quot;Width&quot;:0.75},&quot;Font&quot;:{&quot;Color&quot;:[{&quot;Source&quot;:2,&quot;Data&quot;:&quot;msoThemeColorAccent2&quot;}],&quot;Name&quot;:&quot;+mn-lt&quot;,&quot;Style&quot;:0,&quot;Size&quot;:14}},&quot;FootNote&quot;:{&quot;Font&quot;:{&quot;Color&quot;:[{&quot;Source&quot;:2,&quot;Data&quot;:&quot;msoThemeColorAccent4&quot;}],&quot;Name&quot;:&quot;+mn-lt&quot;,&quot;Style&quot;:0,&quot;Size&quot;:8},&quot;VerticalAnchor&quot;:4},&quot;Bullet&quot;:{&quot;List1Level&quot;:1,&quot;List2Level&quot;:2,&quot;List3Level&quot;:3,&quot;List4Level&quot;:4},&quot;TableSettings&quot;:{&quot;Heading&quot;:{&quot;Font&quot;:{&quot;Color&quot;:[{&quot;Source&quot;:2,&quot;Data&quot;:&quot;msoThemeColorAccent1&quot;}],&quot;Name&quot;:&quot;+mn-lt&quot;,&quot;Style&quot;:2,&quot;Size&quot;:null},&quot;Alignment&quot;:1,&quot;VerticalAnchor&quot;:4},&quot;RowHeading&quot;:{&quot;Font&quot;:{&quot;Color&quot;:[{&quot;Source&quot;:2,&quot;Data&quot;:&quot;msoThemeColorText1&quot;}],&quot;Name&quot;:&quot;+mn-lt&quot;,&quot;Style&quot;:2,&quot;Size&quot;:null},&quot;Alignment&quot;:1,&quot;VerticalAnchor&quot;:1},&quot;Text&quot;:{&quot;Font&quot;:{&quot;Color&quot;:[{&quot;Source&quot;:2,&quot;Data&quot;:&quot;msoThemeColorText1&quot;}],&quot;Name&quot;:&quot;+mn-lt&quot;,&quot;Style&quot;:0,&quot;Size&quot;:null},&quot;Alignment&quot;:1,&quot;VerticalAnchor&quot;:1},&quot;Lines&quot;:{&quot;Visible&quot;:true,&quot;Color&quot;:[{&quot;Source&quot;:2,&quot;Data&quot;:&quot;msoThemeColorText1&quot;}],&quot;Width&quot;:0.75}},&quot;Harvey&quot;:{&quot;Lines&quot;:{&quot;Visible&quot;:true,&quot;Color&quot;:[{&quot;Source&quot;:2,&quot;Data&quot;:&quot;msoThemeColorAccent1&quot;}],&quot;Width&quot;:0.75},&quot;ArcFill&quot;:[{&quot;Source&quot;:2,&quot;Data&quot;:&quot;msoThemeColorAccent1&quot;}],&quot;BallFill&quot;:[{&quot;Source&quot;:2,&quot;Data&quot;:&quot;msoThemeColorBackground1&quot;}]},&quot;Label&quot;:{&quot;Font&quot;:{&quot;Color&quot;:[{&quot;Source&quot;:2,&quot;Data&quot;:&quot;msoThemeColorAccent3&quot;}],&quot;Name&quot;:&quot;+mn-lt&quot;,&quot;Style&quot;:0,&quot;Size&quot;:10},&quot;Line&quot;:{&quot;Visible&quot;:true,&quot;Color&quot;:[{&quot;Source&quot;:2,&quot;Data&quot;:&quot;msoThemeColorAccent3&quot;}],&quot;Width&quot;:0.75},&quot;Fill&quot;:{&quot;FillType&quot;:0,&quot;Color&quot;:[]}},&quot;Ghost&quot;:{&quot;Font&quot;:{&quot;Color&quot;:[{&quot;Source&quot;:2,&quot;Data&quot;:&quot;msoThemeColorAccent3&quot;}],&quot;Name&quot;:&quot;+mn-lt&quot;,&quot;Style&quot;:0,&quot;Size&quot;:11}}}"/>
  <p:tag name="DTP_TOOLSPOWERPOINTCONFIG" val="{&quot;ConfigName&quot;:&quot;Tenerity&quot;,&quot;BracketAndBrace&quot;:{&quot;Brace&quot;:{&quot;Line&quot;:{&quot;Visible&quot;:true,&quot;Color&quot;:[{&quot;Source&quot;:2,&quot;Data&quot;:&quot;msoThemeColorText1&quot;}],&quot;Width&quot;:0.75},&quot;Width&quot;:14.4,&quot;Height&quot;:144.0,&quot;Adjustments&quot;:[1.0],&quot;AdjustmentsString&quot;:&quot;1&quot;},&quot;Bracket&quot;:{&quot;Line&quot;:{&quot;Visible&quot;:true,&quot;Color&quot;:[{&quot;Source&quot;:2,&quot;Data&quot;:&quot;msoThemeColorText1&quot;}],&quot;Width&quot;:0.75},&quot;Width&quot;:7.2,&quot;Height&quot;:144.0,&quot;Adjustments&quot;:[1.0],&quot;AdjustmentsString&quot;:&quot;1&quot;}},&quot;CalloutOutline&quot;:{&quot;Line&quot;:{&quot;Visible&quot;:false,&quot;Color&quot;:[{&quot;Source&quot;:2,&quot;Data&quot;:&quot;msoThemeColorAccent6&quot;}],&quot;Width&quot;:0.75},&quot;FillColor&quot;:[{&quot;Source&quot;:2,&quot;Data&quot;:&quot;msoThemeColorAccent6&quot;}],&quot;Font&quot;:{&quot;Color&quot;:[{&quot;Source&quot;:2,&quot;Data&quot;:&quot;msoThemeColorText1&quot;}],&quot;Name&quot;:&quot;+mn-lt&quot;,&quot;Style&quot;:0,&quot;Size&quot;:12}},&quot;Caret&quot;:{&quot;FillColor&quot;:[],&quot;LineColor&quot;:[{&quot;Source&quot;:2,&quot;Data&quot;:&quot;msoThemeColorText1&quot;}],&quot;SmallCaretLineWeight&quot;:1.5,&quot;LargeCaretLineWeight&quot;:2.25},&quot;Lines&quot;:{&quot;LineColor&quot;:[{&quot;Source&quot;:2,&quot;Data&quot;:&quot;msoThemeColorText1&quot;}],&quot;LineWidth&quot;:0.75},&quot;Circle&quot;:{&quot;Offset&quot;:&quot;-5, 2&quot;,&quot;Font&quot;:{&quot;Color&quot;:[{&quot;Source&quot;:2,&quot;Data&quot;:&quot;msoThemeColorText1&quot;}],&quot;Name&quot;:&quot;+mn-lt&quot;,&quot;Style&quot;:0,&quot;Size&quot;:10},&quot;FillColor&quot;:[{&quot;Source&quot;:2,&quot;Data&quot;:&quot;msoThemeColorBackground1&quot;}],&quot;Line&quot;:{&quot;Visible&quot;:true,&quot;Color&quot;:[{&quot;Source&quot;:2,&quot;Data&quot;:&quot;msoThemeColorAccent1&quot;}],&quot;Width&quot;:0.75}},&quot;CrossTick&quot;:{&quot;Cross&quot;:{&quot;Visible&quot;:true,&quot;Color&quot;:[{&quot;Source&quot;:2,&quot;Data&quot;:&quot;msoThemeColorText1&quot;}],&quot;Width&quot;:1.5},&quot;Tick&quot;:{&quot;Visible&quot;:true,&quot;Color&quot;:[{&quot;Source&quot;:2,&quot;Data&quot;:&quot;msoThemeColorText1&quot;}],&quot;Width&quot;:1.5}},&quot;Highlight&quot;:{&quot;Line&quot;:{&quot;Visible&quot;:true,&quot;Color&quot;:[{&quot;Source&quot;:0,&quot;Data&quot;:&quot;Yellow&quot;},{&quot;Source&quot;:1,&quot;Data&quot;:&quot;0x00BEFF&quot;}],&quot;Width&quot;:1.5},&quot;Font&quot;:{&quot;Color&quot;:[{&quot;Source&quot;:0,&quot;Data&quot;:&quot;Yellow&quot;},{&quot;Source&quot;:1,&quot;Data&quot;:&quot;0x00BEFF&quot;}],&quot;Name&quot;:&quot;+mn-lt&quot;,&quot;Style&quot;:1,&quot;Size&quot;:12},&quot;Alignment&quot;:1,&quot;VerticalAnchor&quot;:1},&quot;Title&quot;:{&quot;SubTitle&quot;:{&quot;Font&quot;:{&quot;Color&quot;:[{&quot;Source&quot;:2,&quot;Data&quot;:&quot;msoThemeColorText1&quot;}],&quot;Name&quot;:&quot;+mn-lt&quot;,&quot;Style&quot;:0,&quot;Size&quot;:14},&quot;AllCaps&quot;:false}},&quot;Headings&quot;:{&quot;Heading&quot;:{&quot;Font&quot;:{&quot;Color&quot;:[{&quot;Source&quot;:2,&quot;Data&quot;:&quot;msoThemeColorAccent1&quot;}],&quot;Name&quot;:&quot;+mn-lt&quot;,&quot;Style&quot;:2,&quot;Size&quot;:14}},&quot;Subheading&quot;:{&quot;Font&quot;:{&quot;Color&quot;:[{&quot;Source&quot;:2,&quot;Data&quot;:&quot;msoThemeColorAccent1&quot;}],&quot;Name&quot;:&quot;+mn-lt&quot;,&quot;Style&quot;:0,&quot;Size&quot;:12}}},&quot;Conclusion&quot;:{&quot;Fill&quot;:{&quot;FillType&quot;:0,&quot;Color&quot;:[]},&quot;VisibleBorders&quot;:[3,1],&quot;Line&quot;:{&quot;Visible&quot;:true,&quot;Color&quot;:[{&quot;Source&quot;:2,&quot;Data&quot;:&quot;msoThemeColorAccent2&quot;}],&quot;Width&quot;:0.75},&quot;Font&quot;:{&quot;Color&quot;:[{&quot;Source&quot;:2,&quot;Data&quot;:&quot;msoThemeColorAccent2&quot;}],&quot;Name&quot;:&quot;+mn-lt&quot;,&quot;Style&quot;:0,&quot;Size&quot;:14}},&quot;FootNote&quot;:{&quot;Font&quot;:{&quot;Color&quot;:[{&quot;Source&quot;:2,&quot;Data&quot;:&quot;msoThemeColorAccent4&quot;}],&quot;Name&quot;:&quot;+mn-lt&quot;,&quot;Style&quot;:0,&quot;Size&quot;:8},&quot;VerticalAnchor&quot;:4},&quot;Bullet&quot;:{&quot;List1Level&quot;:1,&quot;List2Level&quot;:2,&quot;List3Level&quot;:3,&quot;List4Level&quot;:4},&quot;TableSettings&quot;:{&quot;Heading&quot;:{&quot;Font&quot;:{&quot;Color&quot;:[{&quot;Source&quot;:2,&quot;Data&quot;:&quot;msoThemeColorAccent1&quot;}],&quot;Name&quot;:&quot;+mn-lt&quot;,&quot;Style&quot;:2,&quot;Size&quot;:null},&quot;Alignment&quot;:1,&quot;VerticalAnchor&quot;:4},&quot;RowHeading&quot;:{&quot;Font&quot;:{&quot;Color&quot;:[{&quot;Source&quot;:2,&quot;Data&quot;:&quot;msoThemeColorText1&quot;}],&quot;Name&quot;:&quot;+mn-lt&quot;,&quot;Style&quot;:2,&quot;Size&quot;:null},&quot;Alignment&quot;:1,&quot;VerticalAnchor&quot;:1},&quot;Text&quot;:{&quot;Font&quot;:{&quot;Color&quot;:[{&quot;Source&quot;:2,&quot;Data&quot;:&quot;msoThemeColorText1&quot;}],&quot;Name&quot;:&quot;+mn-lt&quot;,&quot;Style&quot;:0,&quot;Size&quot;:null},&quot;Alignment&quot;:1,&quot;VerticalAnchor&quot;:1},&quot;Lines&quot;:{&quot;Visible&quot;:true,&quot;Color&quot;:[{&quot;Source&quot;:2,&quot;Data&quot;:&quot;msoThemeColorText1&quot;}],&quot;Width&quot;:0.75}},&quot;Harvey&quot;:{&quot;Lines&quot;:{&quot;Visible&quot;:true,&quot;Color&quot;:[{&quot;Source&quot;:2,&quot;Data&quot;:&quot;msoThemeColorAccent1&quot;}],&quot;Width&quot;:0.75},&quot;ArcFill&quot;:[{&quot;Source&quot;:2,&quot;Data&quot;:&quot;msoThemeColorAccent1&quot;}],&quot;BallFill&quot;:[{&quot;Source&quot;:2,&quot;Data&quot;:&quot;msoThemeColorBackground1&quot;}]},&quot;Label&quot;:{&quot;Font&quot;:{&quot;Color&quot;:[{&quot;Source&quot;:2,&quot;Data&quot;:&quot;msoThemeColorAccent3&quot;}],&quot;Name&quot;:&quot;+mn-lt&quot;,&quot;Style&quot;:0,&quot;Size&quot;:10},&quot;Line&quot;:{&quot;Visible&quot;:true,&quot;Color&quot;:[{&quot;Source&quot;:2,&quot;Data&quot;:&quot;msoThemeColorAccent3&quot;}],&quot;Width&quot;:0.75}},&quot;Ghost&quot;:{&quot;Font&quot;:{&quot;Color&quot;:[{&quot;Source&quot;:2,&quot;Data&quot;:&quot;msoThemeColorAccent3&quot;}],&quot;Name&quot;:&quot;+mn-lt&quot;,&quot;Style&quot;:0,&quot;Size&quot;:11}}}"/>
  <p:tag name="THINKCELLUNDODONOTDELETE" val="0"/>
  <p:tag name="THINKCELLPRESENTATIONDONOTDELETE" val="&lt;?xml version=&quot;1.0&quot; encoding=&quot;UTF-16&quot; standalone=&quot;yes&quot;?&gt;&lt;root reqver=&quot;28224&quot;&gt;&lt;version val=&quot;357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&lt;/m_strFormatTime&gt;&lt;m_yearfmt&gt;&lt;begin val=&quot;1&quot;/&gt;&lt;end val=&quot;1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B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4.65661033816721570133E+00&quot;&gt;&lt;m_msothmcolidx val=&quot;0&quot;/&gt;&lt;m_rgb r=&quot;00&quot; g=&quot;B0&quot; b=&quot;50&quot;/&gt;&lt;/elem&gt;&lt;elem m_fUsage=&quot;2.60666915474687321819E+00&quot;&gt;&lt;m_msothmcolidx val=&quot;0&quot;/&gt;&lt;m_rgb r=&quot;FF&quot; g=&quot;EA&quot; b=&quot;AF&quot;/&gt;&lt;/elem&gt;&lt;elem m_fUsage=&quot;1.32334901184000930385E+00&quot;&gt;&lt;m_msothmcolidx val=&quot;0&quot;/&gt;&lt;m_rgb r=&quot;E3&quot; g=&quot;E4&quot; b=&quot;E4&quot;/&gt;&lt;/elem&gt;&lt;elem m_fUsage=&quot;8.68807782493491553844E-01&quot;&gt;&lt;m_msothmcolidx val=&quot;0&quot;/&gt;&lt;m_rgb r=&quot;D0&quot; g=&quot;E7&quot; b=&quot;D8&quot;/&gt;&lt;/elem&gt;&lt;elem m_fUsage=&quot;2.96425392881397520295E-01&quot;&gt;&lt;m_msothmcolidx val=&quot;0&quot;/&gt;&lt;m_rgb r=&quot;05&quot; g=&quot;63&quot; b=&quot;C1&quot;/&gt;&lt;/elem&gt;&lt;elem m_fUsage=&quot;1.16945582195002853454E-01&quot;&gt;&lt;m_msothmcolidx val=&quot;0&quot;/&gt;&lt;m_rgb r=&quot;F5&quot; g=&quot;CC&quot; b=&quot;C2&quot;/&gt;&lt;/elem&gt;&lt;elem m_fUsage=&quot;6.10327596096367983036E-02&quot;&gt;&lt;m_msothmcolidx val=&quot;0&quot;/&gt;&lt;m_rgb r=&quot;D6&quot; g=&quot;F3&quot; b=&quot;FF&quot;/&gt;&lt;/elem&gt;&lt;elem m_fUsage=&quot;5.54420720323982180178E-02&quot;&gt;&lt;m_msothmcolidx val=&quot;0&quot;/&gt;&lt;m_rgb r=&quot;63&quot; g=&quot;65&quot; b=&quot;69&quot;/&gt;&lt;/elem&gt;&lt;elem m_fUsage=&quot;6.42464463569318751379E-03&quot;&gt;&lt;m_msothmcolidx val=&quot;0&quot;/&gt;&lt;m_rgb r=&quot;FC&quot; g=&quot;FC&quot; b=&quot;FC&quot;/&gt;&lt;/elem&gt;&lt;elem m_fUsage=&quot;2.84778067618930274402E-03&quot;&gt;&lt;m_msothmcolidx val=&quot;0&quot;/&gt;&lt;m_rgb r=&quot;FF&quot; g=&quot;C0&quot; b=&quot;00&quot;/&gt;&lt;/elem&gt;&lt;elem m_fUsage=&quot;6.96198609130886550238E-04&quot;&gt;&lt;m_msothmcolidx val=&quot;0&quot;/&gt;&lt;m_rgb r=&quot;7D&quot; g=&quot;AE&quot; b=&quot;FF&quot;/&gt;&lt;/elem&gt;&lt;elem m_fUsage=&quot;5.69412278469061329707E-04&quot;&gt;&lt;m_msothmcolidx val=&quot;0&quot;/&gt;&lt;m_rgb r=&quot;85&quot; g=&quot;FD&quot; b=&quot;3D&quot;/&gt;&lt;/elem&gt;&lt;elem m_fUsage=&quot;5.07528786056416392376E-04&quot;&gt;&lt;m_msothmcolidx val=&quot;0&quot;/&gt;&lt;m_rgb r=&quot;92&quot; g=&quot;FD&quot; b=&quot;66&quot;/&gt;&lt;/elem&gt;&lt;elem m_fUsage=&quot;4.56775907450774763981E-04&quot;&gt;&lt;m_msothmcolidx val=&quot;0&quot;/&gt;&lt;m_rgb r=&quot;7C&quot; g=&quot;FD&quot; b=&quot;5F&quot;/&gt;&lt;/elem&gt;&lt;elem m_fUsage=&quot;4.11098316705697298425E-04&quot;&gt;&lt;m_msothmcolidx val=&quot;0&quot;/&gt;&lt;m_rgb r=&quot;57&quot; g=&quot;FD&quot; b=&quot;46&quot;/&gt;&lt;/elem&gt;&lt;elem m_fUsage=&quot;3.69988485035127590266E-04&quot;&gt;&lt;m_msothmcolidx val=&quot;0&quot;/&gt;&lt;m_rgb r=&quot;7C&quot; g=&quot;FD&quot; b=&quot;46&quot;/&gt;&lt;/elem&gt;&lt;elem m_fUsage=&quot;3.32989636531614858345E-04&quot;&gt;&lt;m_msothmcolidx val=&quot;0&quot;/&gt;&lt;m_rgb r=&quot;9F&quot; g=&quot;FD&quot; b=&quot;3F&quot;/&gt;&lt;/elem&gt;&lt;elem m_fUsage=&quot;2.47836796128456863901E-04&quot;&gt;&lt;m_msothmcolidx val=&quot;0&quot;/&gt;&lt;m_rgb r=&quot;53&quot; g=&quot;CC&quot; b=&quot;6A&quot;/&gt;&lt;/elem&gt;&lt;elem m_fUsage=&quot;2.42749445031547234118E-04&quot;&gt;&lt;m_msothmcolidx val=&quot;0&quot;/&gt;&lt;m_rgb r=&quot;86&quot; g=&quot;FD&quot; b=&quot;3E&quot;/&gt;&lt;/elem&gt;&lt;elem m_fUsage=&quot;2.18474500528392518838E-04&quot;&gt;&lt;m_msothmcolidx val=&quot;0&quot;/&gt;&lt;m_rgb r=&quot;79&quot; g=&quot;FD&quot; b=&quot;49&quot;/&gt;&lt;/elem&gt;&lt;elem m_fUsage=&quot;1.96627050475553261533E-04&quot;&gt;&lt;m_msothmcolidx val=&quot;0&quot;/&gt;&lt;m_rgb r=&quot;4C&quot; g=&quot;FD&quot; b=&quot;4E&quot;/&gt;&lt;/elem&gt;&lt;elem m_fUsage=&quot;1.76964345427997940801E-04&quot;&gt;&lt;m_msothmcolidx val=&quot;0&quot;/&gt;&lt;m_rgb r=&quot;50&quot; g=&quot;C5&quot; b=&quot;66&quot;/&gt;&lt;/elem&gt;&lt;elem m_fUsage=&quot;1.59267910885198152142E-04&quot;&gt;&lt;m_msothmcolidx val=&quot;0&quot;/&gt;&lt;m_rgb r=&quot;4A&quot; g=&quot;B7&quot; b=&quot;61&quot;/&gt;&lt;/elem&gt;&lt;elem m_fUsage=&quot;1.29007007817010514077E-04&quot;&gt;&lt;m_msothmcolidx val=&quot;0&quot;/&gt;&lt;m_rgb r=&quot;D4&quot; g=&quot;FF&quot; b=&quot;CE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W-Tenerity">
  <a:themeElements>
    <a:clrScheme name="Custom 4">
      <a:dk1>
        <a:srgbClr val="000000"/>
      </a:dk1>
      <a:lt1>
        <a:srgbClr val="FFFFFF"/>
      </a:lt1>
      <a:dk2>
        <a:srgbClr val="E7E6E6"/>
      </a:dk2>
      <a:lt2>
        <a:srgbClr val="44546A"/>
      </a:lt2>
      <a:accent1>
        <a:srgbClr val="003A6F"/>
      </a:accent1>
      <a:accent2>
        <a:srgbClr val="0073A7"/>
      </a:accent2>
      <a:accent3>
        <a:srgbClr val="49C1E0"/>
      </a:accent3>
      <a:accent4>
        <a:srgbClr val="757779"/>
      </a:accent4>
      <a:accent5>
        <a:srgbClr val="9D9FA2"/>
      </a:accent5>
      <a:accent6>
        <a:srgbClr val="CBCCCE"/>
      </a:accent6>
      <a:hlink>
        <a:srgbClr val="57BCEF"/>
      </a:hlink>
      <a:folHlink>
        <a:srgbClr val="59D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4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400" kern="0" dirty="0" err="1" smtClean="0"/>
        </a:defPPr>
      </a:lstStyle>
    </a:txDef>
  </a:objectDefaults>
  <a:extraClrSchemeLst/>
  <a:custClrLst>
    <a:custClr name="Custom Color">
      <a:srgbClr val="C6EDFF"/>
    </a:custClr>
    <a:custClr name="Custom Color 1">
      <a:srgbClr val="F0F0F0"/>
    </a:custClr>
    <a:custClr name="Custom Color 2">
      <a:srgbClr val="C53532"/>
    </a:custClr>
    <a:custClr name="Custom Color 3">
      <a:srgbClr val="FFBE00"/>
    </a:custClr>
    <a:custClr name="Custom Color 4">
      <a:srgbClr val="14853D"/>
    </a:custClr>
    <a:custClr name="Custom Color">
      <a:srgbClr val="00FF00"/>
    </a:custClr>
    <a:custClr name="Tenerity">
      <a:srgbClr val="31DE14"/>
    </a:custClr>
  </a:custClrLst>
  <a:extLst>
    <a:ext uri="{05A4C25C-085E-4340-85A3-A5531E510DB2}">
      <thm15:themeFamily xmlns:thm15="http://schemas.microsoft.com/office/thememl/2012/main" name="OW_Febraban.potx" id="{F4EE10EE-C067-4270-8DC8-1F8E2566DDBE}" vid="{628A3496-BA30-46FB-B3CB-6CF7A52D17DE}"/>
    </a:ext>
  </a:extLst>
</a:theme>
</file>

<file path=ppt/theme/theme2.xml><?xml version="1.0" encoding="utf-8"?>
<a:theme xmlns:a="http://schemas.openxmlformats.org/drawingml/2006/main" name="Vanilla">
  <a:themeElements>
    <a:clrScheme name="Vanilla">
      <a:dk1>
        <a:sysClr val="windowText" lastClr="000000"/>
      </a:dk1>
      <a:lt1>
        <a:sysClr val="window" lastClr="FFFFFF"/>
      </a:lt1>
      <a:dk2>
        <a:srgbClr val="28356A"/>
      </a:dk2>
      <a:lt2>
        <a:srgbClr val="FFFFFF"/>
      </a:lt2>
      <a:accent1>
        <a:srgbClr val="4A5FBA"/>
      </a:accent1>
      <a:accent2>
        <a:srgbClr val="A6B1DE"/>
      </a:accent2>
      <a:accent3>
        <a:srgbClr val="515151"/>
      </a:accent3>
      <a:accent4>
        <a:srgbClr val="CBCBCB"/>
      </a:accent4>
      <a:accent5>
        <a:srgbClr val="964698"/>
      </a:accent5>
      <a:accent6>
        <a:srgbClr val="D5A6D6"/>
      </a:accent6>
      <a:hlink>
        <a:srgbClr val="515151"/>
      </a:hlink>
      <a:folHlink>
        <a:srgbClr val="CBCBCB"/>
      </a:folHlink>
    </a:clrScheme>
    <a:fontScheme name="Vanilla">
      <a:maj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Calibri"/>
        <a:font script="Uigh" typeface="Microsoft Uighur"/>
        <a:font script="Geor" typeface="Sylfaen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2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anilla.potx" id="{F6D262A5-B963-48E1-A2E3-3CBDBDB49CFF}" vid="{F53D162F-CDEA-4A23-9BC9-56CEC427F37C}"/>
    </a:ext>
  </a:extLst>
</a:theme>
</file>

<file path=ppt/theme/theme3.xml><?xml version="1.0" encoding="utf-8"?>
<a:theme xmlns:a="http://schemas.openxmlformats.org/drawingml/2006/main" name="Vanilla">
  <a:themeElements>
    <a:clrScheme name="Vanilla">
      <a:dk1>
        <a:sysClr val="windowText" lastClr="000000"/>
      </a:dk1>
      <a:lt1>
        <a:sysClr val="window" lastClr="FFFFFF"/>
      </a:lt1>
      <a:dk2>
        <a:srgbClr val="28356A"/>
      </a:dk2>
      <a:lt2>
        <a:srgbClr val="FFFFFF"/>
      </a:lt2>
      <a:accent1>
        <a:srgbClr val="4A5FBA"/>
      </a:accent1>
      <a:accent2>
        <a:srgbClr val="A6B1DE"/>
      </a:accent2>
      <a:accent3>
        <a:srgbClr val="515151"/>
      </a:accent3>
      <a:accent4>
        <a:srgbClr val="CBCBCB"/>
      </a:accent4>
      <a:accent5>
        <a:srgbClr val="964698"/>
      </a:accent5>
      <a:accent6>
        <a:srgbClr val="D5A6D6"/>
      </a:accent6>
      <a:hlink>
        <a:srgbClr val="515151"/>
      </a:hlink>
      <a:folHlink>
        <a:srgbClr val="CBCBCB"/>
      </a:folHlink>
    </a:clrScheme>
    <a:fontScheme name="Vanilla">
      <a:maj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Calibri"/>
        <a:font script="Uigh" typeface="Microsoft Uighur"/>
        <a:font script="Geor" typeface="Sylfaen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2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anilla.potx" id="{F6D262A5-B963-48E1-A2E3-3CBDBDB49CFF}" vid="{F53D162F-CDEA-4A23-9BC9-56CEC427F37C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A4395FF-BAB9-4D34-87FE-6F36FBAC4DC9}">
  <we:reference id="530e4aa5-1381-4248-ad81-740f232184fb" version="1.0.0.1" store="EXCatalog" storeType="EXCatalog"/>
  <we:alternateReferences/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</TotalTime>
  <Words>948</Words>
  <Application>Microsoft Office PowerPoint</Application>
  <PresentationFormat>Widescreen</PresentationFormat>
  <Paragraphs>137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Courier New</vt:lpstr>
      <vt:lpstr>MMC Display Condensed</vt:lpstr>
      <vt:lpstr>OW-Tenerity</vt:lpstr>
      <vt:lpstr>think-cell Slide</vt:lpstr>
      <vt:lpstr>PowerPoint Presentation</vt:lpstr>
      <vt:lpstr>Contexto Open Finance é um sistema de comunicação direta entre instituições financeiras via APIs padronizadas, viabilizando o compartilhamento seguro de informações sobre clientes, produtos e serviços do SFN</vt:lpstr>
      <vt:lpstr>Evolução do ecossistema O ecossistema já apresenta volumes expressivos em compartilhamento de dados e crescimento relevante da iniciação de pagamentos, se valendo de um escopo abrangente de dados e múltiplas funcionalidades de serviços</vt:lpstr>
      <vt:lpstr>Histórico de atuação da Febraban Desde a idealização do Open Finance no Brasil, a Febraban tem atuado como um parceiro fundamental na implementação e evolução do ecossistema, sendo protagonista no aporte técnico, estratégico e financeiro</vt:lpstr>
      <vt:lpstr>Dores do ecossistema A governança atual ainda carece de maior eficiência e equilíbrio, ao passo que as crescentes vulnerabilidades em todo o sistema financeiro e desvios de conduta no Open Finance elevam as preocupações com segurança e privacidade da informação</vt:lpstr>
      <vt:lpstr>Recomendações ao PLP 207 A Febraban gostaria de propor um conjunto de 4 recomendações a serem consideradas na construção do PLP 207</vt:lpstr>
      <vt:lpstr>Obrigado!</vt:lpstr>
    </vt:vector>
  </TitlesOfParts>
  <Company>MM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llardo, Adan</dc:creator>
  <cp:keywords>DTP.PPTVanillaWidescreen.20210601.2</cp:keywords>
  <cp:lastModifiedBy>Miranda, Pedro</cp:lastModifiedBy>
  <cp:revision>4</cp:revision>
  <cp:lastPrinted>2025-03-12T03:44:57Z</cp:lastPrinted>
  <dcterms:created xsi:type="dcterms:W3CDTF">2023-06-07T16:54:03Z</dcterms:created>
  <dcterms:modified xsi:type="dcterms:W3CDTF">2025-11-07T10:0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21/06/01</vt:lpwstr>
  </property>
  <property fmtid="{D5CDD505-2E9C-101B-9397-08002B2CF9AE}" pid="3" name="MSIP_Label_38f1469a-2c2a-4aee-b92b-090d4c5468ff_Enabled">
    <vt:lpwstr>true</vt:lpwstr>
  </property>
  <property fmtid="{D5CDD505-2E9C-101B-9397-08002B2CF9AE}" pid="4" name="MSIP_Label_38f1469a-2c2a-4aee-b92b-090d4c5468ff_SetDate">
    <vt:lpwstr>2023-03-09T20:13:03Z</vt:lpwstr>
  </property>
  <property fmtid="{D5CDD505-2E9C-101B-9397-08002B2CF9AE}" pid="5" name="MSIP_Label_38f1469a-2c2a-4aee-b92b-090d4c5468ff_Method">
    <vt:lpwstr>Standard</vt:lpwstr>
  </property>
  <property fmtid="{D5CDD505-2E9C-101B-9397-08002B2CF9AE}" pid="6" name="MSIP_Label_38f1469a-2c2a-4aee-b92b-090d4c5468ff_Name">
    <vt:lpwstr>Confidential - Unmarked</vt:lpwstr>
  </property>
  <property fmtid="{D5CDD505-2E9C-101B-9397-08002B2CF9AE}" pid="7" name="MSIP_Label_38f1469a-2c2a-4aee-b92b-090d4c5468ff_SiteId">
    <vt:lpwstr>2a6e6092-73e4-4752-b1a5-477a17f5056d</vt:lpwstr>
  </property>
  <property fmtid="{D5CDD505-2E9C-101B-9397-08002B2CF9AE}" pid="8" name="MSIP_Label_38f1469a-2c2a-4aee-b92b-090d4c5468ff_ActionId">
    <vt:lpwstr>9368d9b7-fcaf-4511-8e13-70e5306b06ef</vt:lpwstr>
  </property>
  <property fmtid="{D5CDD505-2E9C-101B-9397-08002B2CF9AE}" pid="9" name="MSIP_Label_38f1469a-2c2a-4aee-b92b-090d4c5468ff_ContentBits">
    <vt:lpwstr>0</vt:lpwstr>
  </property>
  <property fmtid="{D5CDD505-2E9C-101B-9397-08002B2CF9AE}" pid="10" name="DocumentMSOLanguageID">
    <vt:lpwstr>msoLanguageIDBrazilianPortuguese</vt:lpwstr>
  </property>
</Properties>
</file>